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854" r:id="rId4"/>
  </p:sldMasterIdLst>
  <p:notesMasterIdLst>
    <p:notesMasterId r:id="rId10"/>
  </p:notesMasterIdLst>
  <p:sldIdLst>
    <p:sldId id="444" r:id="rId5"/>
    <p:sldId id="439" r:id="rId6"/>
    <p:sldId id="443" r:id="rId7"/>
    <p:sldId id="440" r:id="rId8"/>
    <p:sldId id="442" r:id="rId9"/>
  </p:sldIdLst>
  <p:sldSz cx="12192000" cy="6858000"/>
  <p:notesSz cx="6858000" cy="9144000"/>
  <p:embeddedFontLst>
    <p:embeddedFont>
      <p:font typeface="Calibri" panose="020F0502020204030204" pitchFamily="34" charset="0"/>
      <p:regular r:id="rId11"/>
      <p:bold r:id="rId12"/>
      <p:italic r:id="rId13"/>
      <p:boldItalic r:id="rId14"/>
    </p:embeddedFont>
    <p:embeddedFont>
      <p:font typeface="Liebherr Head Office" panose="020B0604020202020204" charset="0"/>
      <p:regular r:id="rId15"/>
      <p:bold r:id="rId16"/>
    </p:embeddedFont>
    <p:embeddedFont>
      <p:font typeface="Liebherr Text Office" panose="020B0604020202020204" charset="0"/>
      <p:regular r:id="rId17"/>
      <p:bold r:id="rId18"/>
      <p:italic r:id="rId19"/>
      <p:boldItalic r:id="rId20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A675"/>
    <a:srgbClr val="003057"/>
    <a:srgbClr val="5789A4"/>
    <a:srgbClr val="BFDAEF"/>
    <a:srgbClr val="858B90"/>
    <a:srgbClr val="A4A9AC"/>
    <a:srgbClr val="A4A8AC"/>
    <a:srgbClr val="93989D"/>
    <a:srgbClr val="CBCDCF"/>
    <a:srgbClr val="B9BC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97" autoAdjust="0"/>
    <p:restoredTop sz="86212" autoAdjust="0"/>
  </p:normalViewPr>
  <p:slideViewPr>
    <p:cSldViewPr snapToGrid="0">
      <p:cViewPr varScale="1">
        <p:scale>
          <a:sx n="64" d="100"/>
          <a:sy n="64" d="100"/>
        </p:scale>
        <p:origin x="612" y="7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1.fntdata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font" Target="fonts/font5.fntdata"/><Relationship Id="rId23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4.fntdata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F7EEF3-4C89-4C19-80DB-7B54347A906C}" type="datetimeFigureOut">
              <a:rPr lang="fr-FR" smtClean="0"/>
              <a:t>09/10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4614F9-5DC9-45A4-9577-CE04713F31E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66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4614F9-5DC9-45A4-9577-CE04713F31E1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3798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4614F9-5DC9-45A4-9577-CE04713F31E1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5420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4614F9-5DC9-45A4-9577-CE04713F31E1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79877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Picture | 4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Picture Placeholder 93">
            <a:extLst>
              <a:ext uri="{FF2B5EF4-FFF2-40B4-BE49-F238E27FC236}">
                <a16:creationId xmlns:a16="http://schemas.microsoft.com/office/drawing/2014/main" id="{551D1851-8423-44F6-8645-603F69E0935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550863 w 12191999"/>
              <a:gd name="connsiteY2" fmla="*/ 4509120 h 6858000"/>
              <a:gd name="connsiteX3" fmla="*/ 550863 w 12191999"/>
              <a:gd name="connsiteY3" fmla="*/ 4606140 h 6858000"/>
              <a:gd name="connsiteX4" fmla="*/ 550863 w 12191999"/>
              <a:gd name="connsiteY4" fmla="*/ 4617132 h 6858000"/>
              <a:gd name="connsiteX5" fmla="*/ 550863 w 12191999"/>
              <a:gd name="connsiteY5" fmla="*/ 4725208 h 6858000"/>
              <a:gd name="connsiteX6" fmla="*/ 550863 w 12191999"/>
              <a:gd name="connsiteY6" fmla="*/ 4869120 h 6858000"/>
              <a:gd name="connsiteX7" fmla="*/ 550863 w 12191999"/>
              <a:gd name="connsiteY7" fmla="*/ 4977132 h 6858000"/>
              <a:gd name="connsiteX8" fmla="*/ 550863 w 12191999"/>
              <a:gd name="connsiteY8" fmla="*/ 5085208 h 6858000"/>
              <a:gd name="connsiteX9" fmla="*/ 4151784 w 12191999"/>
              <a:gd name="connsiteY9" fmla="*/ 5085208 h 6858000"/>
              <a:gd name="connsiteX10" fmla="*/ 4151784 w 12191999"/>
              <a:gd name="connsiteY10" fmla="*/ 4977132 h 6858000"/>
              <a:gd name="connsiteX11" fmla="*/ 4151784 w 12191999"/>
              <a:gd name="connsiteY11" fmla="*/ 4869120 h 6858000"/>
              <a:gd name="connsiteX12" fmla="*/ 4151784 w 12191999"/>
              <a:gd name="connsiteY12" fmla="*/ 4725208 h 6858000"/>
              <a:gd name="connsiteX13" fmla="*/ 4151784 w 12191999"/>
              <a:gd name="connsiteY13" fmla="*/ 4617132 h 6858000"/>
              <a:gd name="connsiteX14" fmla="*/ 4151784 w 12191999"/>
              <a:gd name="connsiteY14" fmla="*/ 4606140 h 6858000"/>
              <a:gd name="connsiteX15" fmla="*/ 4151784 w 12191999"/>
              <a:gd name="connsiteY15" fmla="*/ 4509120 h 6858000"/>
              <a:gd name="connsiteX16" fmla="*/ 4151784 w 12191999"/>
              <a:gd name="connsiteY16" fmla="*/ 0 h 6858000"/>
              <a:gd name="connsiteX17" fmla="*/ 4330863 w 12191999"/>
              <a:gd name="connsiteY17" fmla="*/ 0 h 6858000"/>
              <a:gd name="connsiteX18" fmla="*/ 4547828 w 12191999"/>
              <a:gd name="connsiteY18" fmla="*/ 0 h 6858000"/>
              <a:gd name="connsiteX19" fmla="*/ 12191999 w 12191999"/>
              <a:gd name="connsiteY19" fmla="*/ 0 h 6858000"/>
              <a:gd name="connsiteX20" fmla="*/ 12191999 w 12191999"/>
              <a:gd name="connsiteY20" fmla="*/ 6858000 h 6858000"/>
              <a:gd name="connsiteX21" fmla="*/ 0 w 12191999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550863" y="4509120"/>
                </a:lnTo>
                <a:lnTo>
                  <a:pt x="550863" y="4606140"/>
                </a:lnTo>
                <a:lnTo>
                  <a:pt x="550863" y="4617132"/>
                </a:lnTo>
                <a:lnTo>
                  <a:pt x="550863" y="4725208"/>
                </a:lnTo>
                <a:lnTo>
                  <a:pt x="550863" y="4869120"/>
                </a:lnTo>
                <a:lnTo>
                  <a:pt x="550863" y="4977132"/>
                </a:lnTo>
                <a:lnTo>
                  <a:pt x="550863" y="5085208"/>
                </a:lnTo>
                <a:lnTo>
                  <a:pt x="4151784" y="5085208"/>
                </a:lnTo>
                <a:lnTo>
                  <a:pt x="4151784" y="4977132"/>
                </a:lnTo>
                <a:lnTo>
                  <a:pt x="4151784" y="4869120"/>
                </a:lnTo>
                <a:lnTo>
                  <a:pt x="4151784" y="4725208"/>
                </a:lnTo>
                <a:lnTo>
                  <a:pt x="4151784" y="4617132"/>
                </a:lnTo>
                <a:lnTo>
                  <a:pt x="4151784" y="4606140"/>
                </a:lnTo>
                <a:lnTo>
                  <a:pt x="4151784" y="450912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3068968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517158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548680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tabLst>
                <a:tab pos="539750" algn="l"/>
              </a:tabLst>
              <a:defRPr sz="4200" spc="0" baseline="0"/>
            </a:lvl1pPr>
          </a:lstStyle>
          <a:p>
            <a:pPr lvl="0"/>
            <a:r>
              <a:rPr lang="en-GB" dirty="0"/>
              <a:t>Title of the presentation in Liebherr Head 42pt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9B8E6657-82D9-4935-820B-4853D3E4091B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>
            <a:extLst>
              <a:ext uri="{FF2B5EF4-FFF2-40B4-BE49-F238E27FC236}">
                <a16:creationId xmlns:a16="http://schemas.microsoft.com/office/drawing/2014/main" id="{E5B9212E-CC80-4F0C-8B38-B034D7B4D967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1235A4D-A2DD-4370-8FC0-750738F672A2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11424" y="4383208"/>
            <a:ext cx="2757844" cy="342000"/>
          </a:xfrm>
          <a:prstGeom prst="rect">
            <a:avLst/>
          </a:prstGeom>
        </p:spPr>
      </p:pic>
      <p:sp>
        <p:nvSpPr>
          <p:cNvPr id="19" name="Rechteck 20">
            <a:extLst>
              <a:ext uri="{FF2B5EF4-FFF2-40B4-BE49-F238E27FC236}">
                <a16:creationId xmlns:a16="http://schemas.microsoft.com/office/drawing/2014/main" id="{9EEFE572-F828-46CA-A28C-1196B1865547}"/>
              </a:ext>
            </a:extLst>
          </p:cNvPr>
          <p:cNvSpPr/>
          <p:nvPr/>
        </p:nvSpPr>
        <p:spPr bwMode="gray">
          <a:xfrm>
            <a:off x="-1932688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cxnSp>
        <p:nvCxnSpPr>
          <p:cNvPr id="48" name="Gerader Verbinder 12">
            <a:extLst>
              <a:ext uri="{FF2B5EF4-FFF2-40B4-BE49-F238E27FC236}">
                <a16:creationId xmlns:a16="http://schemas.microsoft.com/office/drawing/2014/main" id="{868BCD0C-153E-4D1B-996E-F4B48ACD14C2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19">
            <a:extLst>
              <a:ext uri="{FF2B5EF4-FFF2-40B4-BE49-F238E27FC236}">
                <a16:creationId xmlns:a16="http://schemas.microsoft.com/office/drawing/2014/main" id="{88220F6A-2C25-4947-A7FB-9176464A5244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50" name="Gerader Verbinder 14">
            <a:extLst>
              <a:ext uri="{FF2B5EF4-FFF2-40B4-BE49-F238E27FC236}">
                <a16:creationId xmlns:a16="http://schemas.microsoft.com/office/drawing/2014/main" id="{33246CFF-8490-4ED3-B46B-1E37E08F8054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18">
            <a:extLst>
              <a:ext uri="{FF2B5EF4-FFF2-40B4-BE49-F238E27FC236}">
                <a16:creationId xmlns:a16="http://schemas.microsoft.com/office/drawing/2014/main" id="{AECC7761-7EEA-4C3F-88F3-D248543FF858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39B2FC89-9339-429F-99FC-5403F4FD397B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A6DCAE55-5F1C-4A76-AE72-D00E6C7ED37B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</p:spTree>
    <p:extLst>
      <p:ext uri="{BB962C8B-B14F-4D97-AF65-F5344CB8AC3E}">
        <p14:creationId xmlns:p14="http://schemas.microsoft.com/office/powerpoint/2010/main" val="379433479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White | 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2492928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4621998"/>
            <a:ext cx="2880000" cy="433553"/>
          </a:xfrm>
          <a:solidFill>
            <a:schemeClr val="bg2"/>
          </a:solidFill>
        </p:spPr>
        <p:txBody>
          <a:bodyPr lIns="180000" tIns="108000" rIns="18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his is the 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51384" y="3834140"/>
            <a:ext cx="2757844" cy="342000"/>
          </a:xfrm>
          <a:prstGeom prst="rect">
            <a:avLst/>
          </a:prstGeom>
        </p:spPr>
      </p:pic>
      <p:sp>
        <p:nvSpPr>
          <p:cNvPr id="16" name="Rechteck 1">
            <a:extLst>
              <a:ext uri="{FF2B5EF4-FFF2-40B4-BE49-F238E27FC236}">
                <a16:creationId xmlns:a16="http://schemas.microsoft.com/office/drawing/2014/main" id="{C920398F-608C-4E9A-A962-C789F8CAD936}"/>
              </a:ext>
            </a:extLst>
          </p:cNvPr>
          <p:cNvSpPr/>
          <p:nvPr/>
        </p:nvSpPr>
        <p:spPr bwMode="gray">
          <a:xfrm>
            <a:off x="10272464" y="6092825"/>
            <a:ext cx="1919536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EE6F541E-FDE4-4021-A5E0-92AA2FC92550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ADAF01F1-7676-4B08-A6DC-CC79EC0C809C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36" name="Gerader Verbinder 12">
            <a:extLst>
              <a:ext uri="{FF2B5EF4-FFF2-40B4-BE49-F238E27FC236}">
                <a16:creationId xmlns:a16="http://schemas.microsoft.com/office/drawing/2014/main" id="{1A66BD8A-2C75-4575-A42A-E60E3F7C0349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19">
            <a:extLst>
              <a:ext uri="{FF2B5EF4-FFF2-40B4-BE49-F238E27FC236}">
                <a16:creationId xmlns:a16="http://schemas.microsoft.com/office/drawing/2014/main" id="{A0B5B5B2-CF97-4B1F-A61A-4353A08B901C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38" name="Gerader Verbinder 14">
            <a:extLst>
              <a:ext uri="{FF2B5EF4-FFF2-40B4-BE49-F238E27FC236}">
                <a16:creationId xmlns:a16="http://schemas.microsoft.com/office/drawing/2014/main" id="{15ECDA21-885A-4299-848A-AE2DACEC0E58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18">
            <a:extLst>
              <a:ext uri="{FF2B5EF4-FFF2-40B4-BE49-F238E27FC236}">
                <a16:creationId xmlns:a16="http://schemas.microsoft.com/office/drawing/2014/main" id="{6033256A-F4D9-4753-AD38-A2AC20769B70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A4EB8CD-0854-492B-AC88-422513905781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>
            <a:extLst>
              <a:ext uri="{FF2B5EF4-FFF2-40B4-BE49-F238E27FC236}">
                <a16:creationId xmlns:a16="http://schemas.microsoft.com/office/drawing/2014/main" id="{6DCFA8A3-82B5-4567-AD8E-E441C34F5C5E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B3988BE6-FEB8-4270-9C11-C18CF09E1365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49667920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4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White |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1916864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4085114"/>
            <a:ext cx="2880000" cy="433553"/>
          </a:xfrm>
          <a:solidFill>
            <a:schemeClr val="bg2"/>
          </a:solidFill>
        </p:spPr>
        <p:txBody>
          <a:bodyPr lIns="180000" tIns="108000" rIns="18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51384" y="3294080"/>
            <a:ext cx="2757844" cy="342000"/>
          </a:xfrm>
          <a:prstGeom prst="rect">
            <a:avLst/>
          </a:prstGeom>
        </p:spPr>
      </p:pic>
      <p:sp>
        <p:nvSpPr>
          <p:cNvPr id="16" name="Rechteck 1">
            <a:extLst>
              <a:ext uri="{FF2B5EF4-FFF2-40B4-BE49-F238E27FC236}">
                <a16:creationId xmlns:a16="http://schemas.microsoft.com/office/drawing/2014/main" id="{C825EDB6-66B2-45B4-9ADA-C4B6CA4B7F75}"/>
              </a:ext>
            </a:extLst>
          </p:cNvPr>
          <p:cNvSpPr/>
          <p:nvPr/>
        </p:nvSpPr>
        <p:spPr bwMode="gray">
          <a:xfrm>
            <a:off x="10272464" y="6092825"/>
            <a:ext cx="1919536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FC0DA16-E980-4478-8335-C35AF5D8CE3B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81060731-A68A-478F-B9CC-99E3634FE75C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5" name="Gerader Verbinder 12">
            <a:extLst>
              <a:ext uri="{FF2B5EF4-FFF2-40B4-BE49-F238E27FC236}">
                <a16:creationId xmlns:a16="http://schemas.microsoft.com/office/drawing/2014/main" id="{64EBEF6F-F3A4-4189-9F29-69A5EBA48F4F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19">
            <a:extLst>
              <a:ext uri="{FF2B5EF4-FFF2-40B4-BE49-F238E27FC236}">
                <a16:creationId xmlns:a16="http://schemas.microsoft.com/office/drawing/2014/main" id="{C4EA61C3-C28D-486D-842C-578F5CE3C16F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7" name="Gerader Verbinder 14">
            <a:extLst>
              <a:ext uri="{FF2B5EF4-FFF2-40B4-BE49-F238E27FC236}">
                <a16:creationId xmlns:a16="http://schemas.microsoft.com/office/drawing/2014/main" id="{4E38E64F-8840-4BC3-A0CE-7949976A18F1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8">
            <a:extLst>
              <a:ext uri="{FF2B5EF4-FFF2-40B4-BE49-F238E27FC236}">
                <a16:creationId xmlns:a16="http://schemas.microsoft.com/office/drawing/2014/main" id="{A9931707-5B1B-487C-8ED1-6A4E1A69766E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54E78015-2840-4B8C-A3CB-1D7864BE017F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123C9883-7B43-4B83-8414-5B524ACD8E89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58EF46B1-D4D8-4969-A0E9-61CEC0E0A434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74337461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4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Without Descrip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1916864"/>
            <a:ext cx="3204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548688"/>
            <a:ext cx="3204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slide with no descriptor</a:t>
            </a:r>
          </a:p>
        </p:txBody>
      </p:sp>
      <p:sp>
        <p:nvSpPr>
          <p:cNvPr id="16" name="Rechteck 1">
            <a:extLst>
              <a:ext uri="{FF2B5EF4-FFF2-40B4-BE49-F238E27FC236}">
                <a16:creationId xmlns:a16="http://schemas.microsoft.com/office/drawing/2014/main" id="{C825EDB6-66B2-45B4-9ADA-C4B6CA4B7F75}"/>
              </a:ext>
            </a:extLst>
          </p:cNvPr>
          <p:cNvSpPr/>
          <p:nvPr/>
        </p:nvSpPr>
        <p:spPr bwMode="gray">
          <a:xfrm>
            <a:off x="10272464" y="6092825"/>
            <a:ext cx="1919536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pic>
        <p:nvPicPr>
          <p:cNvPr id="20" name="Graphic 1">
            <a:extLst>
              <a:ext uri="{FF2B5EF4-FFF2-40B4-BE49-F238E27FC236}">
                <a16:creationId xmlns:a16="http://schemas.microsoft.com/office/drawing/2014/main" id="{87C183A4-B489-4003-BE7D-87C657B5D0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51384" y="5967320"/>
            <a:ext cx="2757844" cy="342000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556EB98-34C0-4C77-B059-0012A5049E3E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5D58A984-7945-4DBB-B4FB-1A9A5695E13D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5" name="Gerader Verbinder 12">
            <a:extLst>
              <a:ext uri="{FF2B5EF4-FFF2-40B4-BE49-F238E27FC236}">
                <a16:creationId xmlns:a16="http://schemas.microsoft.com/office/drawing/2014/main" id="{F0519844-BBB1-4AE8-93F8-E4289065B350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19">
            <a:extLst>
              <a:ext uri="{FF2B5EF4-FFF2-40B4-BE49-F238E27FC236}">
                <a16:creationId xmlns:a16="http://schemas.microsoft.com/office/drawing/2014/main" id="{D5F8EA94-1ADB-40C7-A151-1FEFFBDBEC0E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7" name="Gerader Verbinder 14">
            <a:extLst>
              <a:ext uri="{FF2B5EF4-FFF2-40B4-BE49-F238E27FC236}">
                <a16:creationId xmlns:a16="http://schemas.microsoft.com/office/drawing/2014/main" id="{317A42EB-679F-4EF9-9374-F492B43A57A0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8">
            <a:extLst>
              <a:ext uri="{FF2B5EF4-FFF2-40B4-BE49-F238E27FC236}">
                <a16:creationId xmlns:a16="http://schemas.microsoft.com/office/drawing/2014/main" id="{0C37F9FF-2FC3-436D-B06A-D5E865A25271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A8B42A78-E8F3-45EF-A357-474B924AC472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49">
            <a:extLst>
              <a:ext uri="{FF2B5EF4-FFF2-40B4-BE49-F238E27FC236}">
                <a16:creationId xmlns:a16="http://schemas.microsoft.com/office/drawing/2014/main" id="{5646B120-5E77-4B0D-84BC-8123D8039A78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BEE31B1A-3866-4A44-B2FB-58BA8FCE7B01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332758475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47">
          <p15:clr>
            <a:srgbClr val="FBAE40"/>
          </p15:clr>
        </p15:guide>
        <p15:guide id="3" orient="horz" pos="3521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DB07D54-AE8F-4C3C-8AAB-0677FA02809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3" y="1700213"/>
            <a:ext cx="11161712" cy="4393084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9CA2B8-56BA-4D31-8F0D-4DBF754DB231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954D1906-ADF9-4689-926C-B2790E9A9D3F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E9DE04F-458F-4183-9393-E5BCC136CBC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22F07AE-F62B-46B9-B823-19CC36F456C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41817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3" pos="347">
          <p15:clr>
            <a:srgbClr val="FBAE40"/>
          </p15:clr>
        </p15:guide>
        <p15:guide id="4" pos="7378">
          <p15:clr>
            <a:srgbClr val="FBAE40"/>
          </p15:clr>
        </p15:guide>
        <p15:guide id="5" orient="horz" pos="1071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DB07D54-AE8F-4C3C-8AAB-0677FA02809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1384" y="1700808"/>
            <a:ext cx="5256000" cy="4393084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624FD64-0482-4C29-A951-CDC3FACF190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6456363" y="1700213"/>
            <a:ext cx="5256212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C9CA2B8-56BA-4D31-8F0D-4DBF754DB231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954D1906-ADF9-4689-926C-B2790E9A9D3F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E9DE04F-458F-4183-9393-E5BCC136CBC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22F07AE-F62B-46B9-B823-19CC36F456C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580814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659">
          <p15:clr>
            <a:srgbClr val="FBAE40"/>
          </p15:clr>
        </p15:guide>
        <p15:guide id="2" pos="4067">
          <p15:clr>
            <a:srgbClr val="FBAE40"/>
          </p15:clr>
        </p15:guide>
        <p15:guide id="3" pos="347">
          <p15:clr>
            <a:srgbClr val="FBAE40"/>
          </p15:clr>
        </p15:guide>
        <p15:guide id="4" pos="7378">
          <p15:clr>
            <a:srgbClr val="FBAE40"/>
          </p15:clr>
        </p15:guide>
        <p15:guide id="5" orient="horz" pos="1071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DB07D54-AE8F-4C3C-8AAB-0677FA02809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3" y="1700213"/>
            <a:ext cx="3313112" cy="4393084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624FD64-0482-4C29-A951-CDC3FACF190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4511675" y="1700213"/>
            <a:ext cx="3240088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9544FC9-C9D6-4239-8296-640261EE1928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 bwMode="gray">
          <a:xfrm>
            <a:off x="8401050" y="1700213"/>
            <a:ext cx="3311525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E8C3F81-3DA9-417F-B383-C39461A27DA9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gray"/>
        <p:txBody>
          <a:bodyPr/>
          <a:lstStyle/>
          <a:p>
            <a:fld id="{8E7BAEC6-F654-43B8-8F51-68D99B8E8B91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8BB0AB1D-1530-429B-BDA2-F7D4DEFC4E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7B58617-66A6-4B52-A0EF-C41431BC2C1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76991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434">
          <p15:clr>
            <a:srgbClr val="FBAE40"/>
          </p15:clr>
        </p15:guide>
        <p15:guide id="2" pos="2842">
          <p15:clr>
            <a:srgbClr val="FBAE40"/>
          </p15:clr>
        </p15:guide>
        <p15:guide id="4" pos="4883">
          <p15:clr>
            <a:srgbClr val="FBAE40"/>
          </p15:clr>
        </p15:guide>
        <p15:guide id="5" pos="5292">
          <p15:clr>
            <a:srgbClr val="FBAE40"/>
          </p15:clr>
        </p15:guide>
        <p15:guide id="6" pos="347">
          <p15:clr>
            <a:srgbClr val="FBAE40"/>
          </p15:clr>
        </p15:guide>
        <p15:guide id="7" pos="7378">
          <p15:clr>
            <a:srgbClr val="FBAE40"/>
          </p15:clr>
        </p15:guide>
        <p15:guide id="8" orient="horz" pos="1071">
          <p15:clr>
            <a:srgbClr val="FBAE40"/>
          </p15:clr>
        </p15:guide>
        <p15:guide id="9" orient="horz" pos="383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 | Marg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9DB07D54-AE8F-4C3C-8AAB-0677FA02809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3" y="1700213"/>
            <a:ext cx="8208962" cy="4393084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624FD64-0482-4C29-A951-CDC3FACF190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 bwMode="gray">
          <a:xfrm>
            <a:off x="9409113" y="1700213"/>
            <a:ext cx="2303462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556B695-9309-41C3-A54D-DBADCB24CF02}"/>
              </a:ext>
            </a:extLst>
          </p:cNvPr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/>
          <a:p>
            <a:fld id="{FD86D325-28AB-44A5-8090-8B5681E04BF1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05F3838-9EB3-46AA-A748-61B210B2CF0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B461A24B-9F74-4760-B16B-CF31DF7EF27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501849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4" pos="5518">
          <p15:clr>
            <a:srgbClr val="FBAE40"/>
          </p15:clr>
        </p15:guide>
        <p15:guide id="5" pos="5927">
          <p15:clr>
            <a:srgbClr val="FBAE40"/>
          </p15:clr>
        </p15:guide>
        <p15:guide id="6" pos="347">
          <p15:clr>
            <a:srgbClr val="FBAE40"/>
          </p15:clr>
        </p15:guide>
        <p15:guide id="7" pos="7378">
          <p15:clr>
            <a:srgbClr val="FBAE40"/>
          </p15:clr>
        </p15:guide>
        <p15:guide id="8" orient="horz" pos="1071">
          <p15:clr>
            <a:srgbClr val="FBAE40"/>
          </p15:clr>
        </p15:guide>
        <p15:guide id="9" orient="horz" pos="383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C27F0C3-643B-4532-9587-0733BF71990E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64062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BF342BE-D8BE-4051-8A34-B76A139B5EE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1C6867E9-C8FF-4041-B959-30EF08A16943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1A34E6-7A2F-41C8-9EBC-70668DCE8A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C3D7330-5E2B-4FF9-9FDD-DBBF00AA74E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4735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orient="horz" pos="3838">
          <p15:clr>
            <a:srgbClr val="FBAE40"/>
          </p15:clr>
        </p15:guide>
        <p15:guide id="3" pos="347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Picture Lef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4511675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159895" y="620736"/>
            <a:ext cx="6552000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159895" y="1700213"/>
            <a:ext cx="6552000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896" y="255981"/>
            <a:ext cx="6552000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7" name="Rechteck 20">
            <a:extLst>
              <a:ext uri="{FF2B5EF4-FFF2-40B4-BE49-F238E27FC236}">
                <a16:creationId xmlns:a16="http://schemas.microsoft.com/office/drawing/2014/main" id="{E4581962-0EC4-4E57-B916-54AF97FDFCCA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60875212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842">
          <p15:clr>
            <a:srgbClr val="FBAE40"/>
          </p15:clr>
        </p15:guide>
        <p15:guide id="2" pos="3250">
          <p15:clr>
            <a:srgbClr val="FBAE40"/>
          </p15:clr>
        </p15:guide>
        <p15:guide id="3" pos="7378">
          <p15:clr>
            <a:srgbClr val="FBAE40"/>
          </p15:clr>
        </p15:guide>
        <p15:guide id="4" orient="horz" pos="1071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Picture | 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93">
            <a:extLst>
              <a:ext uri="{FF2B5EF4-FFF2-40B4-BE49-F238E27FC236}">
                <a16:creationId xmlns:a16="http://schemas.microsoft.com/office/drawing/2014/main" id="{B455819A-3D61-44FB-A7D1-A1E77ECB7F3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550863 w 12191999"/>
              <a:gd name="connsiteY2" fmla="*/ 4509120 h 6858000"/>
              <a:gd name="connsiteX3" fmla="*/ 550863 w 12191999"/>
              <a:gd name="connsiteY3" fmla="*/ 4536140 h 6858000"/>
              <a:gd name="connsiteX4" fmla="*/ 4151784 w 12191999"/>
              <a:gd name="connsiteY4" fmla="*/ 4536140 h 6858000"/>
              <a:gd name="connsiteX5" fmla="*/ 4151784 w 12191999"/>
              <a:gd name="connsiteY5" fmla="*/ 4509120 h 6858000"/>
              <a:gd name="connsiteX6" fmla="*/ 4151784 w 12191999"/>
              <a:gd name="connsiteY6" fmla="*/ 0 h 6858000"/>
              <a:gd name="connsiteX7" fmla="*/ 4330863 w 12191999"/>
              <a:gd name="connsiteY7" fmla="*/ 0 h 6858000"/>
              <a:gd name="connsiteX8" fmla="*/ 4547828 w 12191999"/>
              <a:gd name="connsiteY8" fmla="*/ 0 h 6858000"/>
              <a:gd name="connsiteX9" fmla="*/ 12191999 w 12191999"/>
              <a:gd name="connsiteY9" fmla="*/ 0 h 6858000"/>
              <a:gd name="connsiteX10" fmla="*/ 12191999 w 12191999"/>
              <a:gd name="connsiteY10" fmla="*/ 6858000 h 6858000"/>
              <a:gd name="connsiteX11" fmla="*/ 0 w 12191999"/>
              <a:gd name="connsiteY1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550863" y="4509120"/>
                </a:lnTo>
                <a:lnTo>
                  <a:pt x="550863" y="4536140"/>
                </a:lnTo>
                <a:lnTo>
                  <a:pt x="4151784" y="4536140"/>
                </a:lnTo>
                <a:lnTo>
                  <a:pt x="4151784" y="450912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2492928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462517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548680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his is the 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11424" y="3834140"/>
            <a:ext cx="2757844" cy="342000"/>
          </a:xfrm>
          <a:prstGeom prst="rect">
            <a:avLst/>
          </a:prstGeom>
        </p:spPr>
      </p:pic>
      <p:cxnSp>
        <p:nvCxnSpPr>
          <p:cNvPr id="48" name="Gerader Verbinder 12">
            <a:extLst>
              <a:ext uri="{FF2B5EF4-FFF2-40B4-BE49-F238E27FC236}">
                <a16:creationId xmlns:a16="http://schemas.microsoft.com/office/drawing/2014/main" id="{7CB1ED08-BEDD-42D9-8A43-DD6B13F347A0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hteck 19">
            <a:extLst>
              <a:ext uri="{FF2B5EF4-FFF2-40B4-BE49-F238E27FC236}">
                <a16:creationId xmlns:a16="http://schemas.microsoft.com/office/drawing/2014/main" id="{ACB584E6-1753-4525-BE98-BBD5BDAA5B0D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33" name="Gerader Verbinder 14">
            <a:extLst>
              <a:ext uri="{FF2B5EF4-FFF2-40B4-BE49-F238E27FC236}">
                <a16:creationId xmlns:a16="http://schemas.microsoft.com/office/drawing/2014/main" id="{A16BD126-400D-4679-B2D1-BA92303858FC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18">
            <a:extLst>
              <a:ext uri="{FF2B5EF4-FFF2-40B4-BE49-F238E27FC236}">
                <a16:creationId xmlns:a16="http://schemas.microsoft.com/office/drawing/2014/main" id="{F116D5E8-AD1B-402F-98C0-893A3EA48628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260B0DC1-1D77-4F78-9C20-4B697E687BA9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AD34ED2E-8A54-454A-8224-F0FAE7DBBECA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7964A7FD-1CF5-47D8-8665-1ABDD9D34665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38">
            <a:extLst>
              <a:ext uri="{FF2B5EF4-FFF2-40B4-BE49-F238E27FC236}">
                <a16:creationId xmlns:a16="http://schemas.microsoft.com/office/drawing/2014/main" id="{F29A1511-B754-4E4E-8F33-023984719615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6192760C-AA5A-4509-8176-4F9844E4DEBD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1" name="Rechteck 20">
            <a:extLst>
              <a:ext uri="{FF2B5EF4-FFF2-40B4-BE49-F238E27FC236}">
                <a16:creationId xmlns:a16="http://schemas.microsoft.com/office/drawing/2014/main" id="{7D62AF86-2D36-48BC-B705-529789F83E74}"/>
              </a:ext>
            </a:extLst>
          </p:cNvPr>
          <p:cNvSpPr/>
          <p:nvPr/>
        </p:nvSpPr>
        <p:spPr bwMode="gray">
          <a:xfrm>
            <a:off x="-1932688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37246305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wo Pictures Lef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0">
            <a:extLst>
              <a:ext uri="{FF2B5EF4-FFF2-40B4-BE49-F238E27FC236}">
                <a16:creationId xmlns:a16="http://schemas.microsoft.com/office/drawing/2014/main" id="{D61A8853-6D17-4D25-A4D8-29763A70739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0" y="3501384"/>
            <a:ext cx="4511675" cy="3356616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4511675" cy="3384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159895" y="620736"/>
            <a:ext cx="6552000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159896" y="1700213"/>
            <a:ext cx="6552000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59895" y="255981"/>
            <a:ext cx="6552000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8" name="Rechteck 20">
            <a:extLst>
              <a:ext uri="{FF2B5EF4-FFF2-40B4-BE49-F238E27FC236}">
                <a16:creationId xmlns:a16="http://schemas.microsoft.com/office/drawing/2014/main" id="{1B3937D4-4CFC-45D2-8A4D-225125F1DFC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124219388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842">
          <p15:clr>
            <a:srgbClr val="FBAE40"/>
          </p15:clr>
        </p15:guide>
        <p15:guide id="2" pos="3250">
          <p15:clr>
            <a:srgbClr val="FBAE40"/>
          </p15:clr>
        </p15:guide>
        <p15:guide id="3" pos="7378">
          <p15:clr>
            <a:srgbClr val="FBAE40"/>
          </p15:clr>
        </p15:guide>
        <p15:guide id="4" orient="horz" pos="1071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2 Picture Lef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-1" y="0"/>
            <a:ext cx="5807425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455999" y="620736"/>
            <a:ext cx="5256575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456363" y="1700213"/>
            <a:ext cx="5256212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455998" y="255981"/>
            <a:ext cx="5256576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7" name="Rechteck 20">
            <a:extLst>
              <a:ext uri="{FF2B5EF4-FFF2-40B4-BE49-F238E27FC236}">
                <a16:creationId xmlns:a16="http://schemas.microsoft.com/office/drawing/2014/main" id="{6BEF655A-6A6E-4F01-BE72-332B71C21671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168178865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659">
          <p15:clr>
            <a:srgbClr val="FBAE40"/>
          </p15:clr>
        </p15:guide>
        <p15:guide id="2" pos="4067">
          <p15:clr>
            <a:srgbClr val="FBAE40"/>
          </p15:clr>
        </p15:guide>
        <p15:guide id="3" pos="7378">
          <p15:clr>
            <a:srgbClr val="FBAE40"/>
          </p15:clr>
        </p15:guide>
        <p15:guide id="4" orient="horz" pos="1071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Picture Lef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7751764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01051" y="620736"/>
            <a:ext cx="3311523" cy="432000"/>
          </a:xfrm>
        </p:spPr>
        <p:txBody>
          <a:bodyPr/>
          <a:lstStyle/>
          <a:p>
            <a:r>
              <a:rPr lang="en-GB" dirty="0"/>
              <a:t>Edit titl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8401050" y="1700213"/>
            <a:ext cx="3311525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401050" y="255981"/>
            <a:ext cx="3311524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7" name="Rechteck 20">
            <a:extLst>
              <a:ext uri="{FF2B5EF4-FFF2-40B4-BE49-F238E27FC236}">
                <a16:creationId xmlns:a16="http://schemas.microsoft.com/office/drawing/2014/main" id="{AE4D5920-C7CF-4106-B99D-D9166440C0EA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8185869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4883">
          <p15:clr>
            <a:srgbClr val="FBAE40"/>
          </p15:clr>
        </p15:guide>
        <p15:guide id="2" pos="5292">
          <p15:clr>
            <a:srgbClr val="FBAE40"/>
          </p15:clr>
        </p15:guide>
        <p15:guide id="3" pos="7378">
          <p15:clr>
            <a:srgbClr val="FBAE40"/>
          </p15:clr>
        </p15:guide>
        <p15:guide id="4" orient="horz" pos="1071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Picture Righ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751762" y="0"/>
            <a:ext cx="4464917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620736"/>
            <a:ext cx="6552000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1384" y="1700213"/>
            <a:ext cx="6552000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1385" y="255981"/>
            <a:ext cx="6552000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20" name="Medienplatzhalter 10">
            <a:extLst>
              <a:ext uri="{FF2B5EF4-FFF2-40B4-BE49-F238E27FC236}">
                <a16:creationId xmlns:a16="http://schemas.microsoft.com/office/drawing/2014/main" id="{3B93AEA6-84FE-4845-9865-CC0E25C674AB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11" name="Rechteck 20">
            <a:extLst>
              <a:ext uri="{FF2B5EF4-FFF2-40B4-BE49-F238E27FC236}">
                <a16:creationId xmlns:a16="http://schemas.microsoft.com/office/drawing/2014/main" id="{58469D32-81D6-4056-A82D-4A0354528E48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C51443B-2724-462F-B38C-8C201848BC2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BF76663-E215-40A1-B199-579C8AB47B20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8B939CC-E2CA-470B-A1A9-B7B51056D65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1884396" y="6550324"/>
            <a:ext cx="5220000" cy="144000"/>
          </a:xfrm>
        </p:spPr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2D95066-DE61-4C95-9830-58249D68E0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7124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4883">
          <p15:clr>
            <a:srgbClr val="FBAE40"/>
          </p15:clr>
        </p15:guide>
        <p15:guide id="3" pos="4475">
          <p15:clr>
            <a:srgbClr val="FBAE40"/>
          </p15:clr>
        </p15:guide>
        <p15:guide id="4" pos="347">
          <p15:clr>
            <a:srgbClr val="FBAE40"/>
          </p15:clr>
        </p15:guide>
        <p15:guide id="5" orient="horz" pos="1071">
          <p15:clr>
            <a:srgbClr val="FBAE40"/>
          </p15:clr>
        </p15:guide>
        <p15:guide id="6" orient="horz" pos="3838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wo Pictures Righ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0">
            <a:extLst>
              <a:ext uri="{FF2B5EF4-FFF2-40B4-BE49-F238E27FC236}">
                <a16:creationId xmlns:a16="http://schemas.microsoft.com/office/drawing/2014/main" id="{D61A8853-6D17-4D25-A4D8-29763A70739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7751762" y="3501384"/>
            <a:ext cx="4440237" cy="3356616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7751762" y="0"/>
            <a:ext cx="4440237" cy="3384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2" y="620736"/>
            <a:ext cx="6552000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2" y="1700213"/>
            <a:ext cx="6552000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1384" y="255981"/>
            <a:ext cx="6552000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5" name="Medienplatzhalter 10">
            <a:extLst>
              <a:ext uri="{FF2B5EF4-FFF2-40B4-BE49-F238E27FC236}">
                <a16:creationId xmlns:a16="http://schemas.microsoft.com/office/drawing/2014/main" id="{816186E1-4BE3-4668-A421-03B03529ED88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12" name="Rechteck 20">
            <a:extLst>
              <a:ext uri="{FF2B5EF4-FFF2-40B4-BE49-F238E27FC236}">
                <a16:creationId xmlns:a16="http://schemas.microsoft.com/office/drawing/2014/main" id="{1809D4F8-81B8-4E9E-800B-ED091A164DCA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BFE9B53-7631-40D1-A6B9-2DCB7C625005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5BF76663-E215-40A1-B199-579C8AB47B20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1ACD66D-BFC0-403A-ADC9-0513FF25E16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884396" y="6550324"/>
            <a:ext cx="5220000" cy="144000"/>
          </a:xfrm>
        </p:spPr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78FF61-BE26-4516-B08B-CA3B4CBDE56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226933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4883">
          <p15:clr>
            <a:srgbClr val="FBAE40"/>
          </p15:clr>
        </p15:guide>
        <p15:guide id="2" pos="4475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34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2 Picture Righ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456041" y="0"/>
            <a:ext cx="5735960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620736"/>
            <a:ext cx="5256573" cy="432000"/>
          </a:xfrm>
        </p:spPr>
        <p:txBody>
          <a:bodyPr/>
          <a:lstStyle/>
          <a:p>
            <a:r>
              <a:rPr lang="en-GB" dirty="0"/>
              <a:t>Edit title master format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0864" y="1700213"/>
            <a:ext cx="5257096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endParaRPr lang="en-GB" dirty="0"/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1384" y="255981"/>
            <a:ext cx="5256574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3" name="Medienplatzhalter 10">
            <a:extLst>
              <a:ext uri="{FF2B5EF4-FFF2-40B4-BE49-F238E27FC236}">
                <a16:creationId xmlns:a16="http://schemas.microsoft.com/office/drawing/2014/main" id="{E2A54F6B-7A43-444C-B9EC-A0AF8965DB21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12" name="Rechteck 20">
            <a:extLst>
              <a:ext uri="{FF2B5EF4-FFF2-40B4-BE49-F238E27FC236}">
                <a16:creationId xmlns:a16="http://schemas.microsoft.com/office/drawing/2014/main" id="{9FA071D6-560B-483D-A95A-8FCE1D91A4A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8EA5576-7AEF-4A2B-AA83-9F5081D611C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BF76663-E215-40A1-B199-579C8AB47B20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4AE47AB-C356-4E00-97CB-AB9CF1FAC36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1884396" y="6550324"/>
            <a:ext cx="3924000" cy="144000"/>
          </a:xfrm>
        </p:spPr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16A8CD-2AB7-40DF-8C33-1BB905AC769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6070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59">
          <p15:clr>
            <a:srgbClr val="FBAE40"/>
          </p15:clr>
        </p15:guide>
        <p15:guide id="2" pos="4067">
          <p15:clr>
            <a:srgbClr val="FBAE40"/>
          </p15:clr>
        </p15:guide>
        <p15:guide id="3" pos="347">
          <p15:clr>
            <a:srgbClr val="FBAE40"/>
          </p15:clr>
        </p15:guide>
        <p15:guide id="4" orient="horz" pos="1071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Picture Right |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511675" y="0"/>
            <a:ext cx="7680325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B432BC-A4AB-448F-B6B3-AB857CC47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620736"/>
            <a:ext cx="3311523" cy="432000"/>
          </a:xfrm>
        </p:spPr>
        <p:txBody>
          <a:bodyPr/>
          <a:lstStyle/>
          <a:p>
            <a:r>
              <a:rPr lang="en-GB" dirty="0"/>
              <a:t>Edit title</a:t>
            </a:r>
          </a:p>
        </p:txBody>
      </p:sp>
      <p:sp>
        <p:nvSpPr>
          <p:cNvPr id="18" name="Inhaltsplatzhalter 17">
            <a:extLst>
              <a:ext uri="{FF2B5EF4-FFF2-40B4-BE49-F238E27FC236}">
                <a16:creationId xmlns:a16="http://schemas.microsoft.com/office/drawing/2014/main" id="{EDF5CFF8-7AD1-4086-B226-E51A1C6543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551384" y="1700213"/>
            <a:ext cx="3311525" cy="4392612"/>
          </a:xfrm>
        </p:spPr>
        <p:txBody>
          <a:bodyPr/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19" name="Textplatzhalter 11">
            <a:extLst>
              <a:ext uri="{FF2B5EF4-FFF2-40B4-BE49-F238E27FC236}">
                <a16:creationId xmlns:a16="http://schemas.microsoft.com/office/drawing/2014/main" id="{2F9CD972-D691-4A20-A96D-14BC4A4FBE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1384" y="255981"/>
            <a:ext cx="3311524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1" name="Medienplatzhalter 10">
            <a:extLst>
              <a:ext uri="{FF2B5EF4-FFF2-40B4-BE49-F238E27FC236}">
                <a16:creationId xmlns:a16="http://schemas.microsoft.com/office/drawing/2014/main" id="{131C9908-645F-4008-B1A2-B73C354BA9DF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13" name="Rechteck 20">
            <a:extLst>
              <a:ext uri="{FF2B5EF4-FFF2-40B4-BE49-F238E27FC236}">
                <a16:creationId xmlns:a16="http://schemas.microsoft.com/office/drawing/2014/main" id="{D0E92D42-F5CE-4E09-85CD-1214570EB4C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E4BC8F1-A1FF-4CC2-9008-51296BFBC0D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BF76663-E215-40A1-B199-579C8AB47B20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166D36-23B6-42C4-9D19-790AB5B0332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16066D-FFDD-411C-8DE8-7C323232377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570458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2434">
          <p15:clr>
            <a:srgbClr val="FBAE40"/>
          </p15:clr>
        </p15:guide>
        <p15:guide id="2" pos="2842">
          <p15:clr>
            <a:srgbClr val="FBAE40"/>
          </p15:clr>
        </p15:guide>
        <p15:guide id="3" pos="347">
          <p15:clr>
            <a:srgbClr val="FBAE40"/>
          </p15:clr>
        </p15:guide>
        <p15:guide id="4" orient="horz" pos="1071">
          <p15:clr>
            <a:srgbClr val="FBAE40"/>
          </p15:clr>
        </p15:guide>
        <p15:guide id="5" orient="horz" pos="381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| Short Text | 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12191999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6A4A7721-E96E-4225-91CC-3D91E9FEE08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399463" y="1700213"/>
            <a:ext cx="3313112" cy="2283932"/>
          </a:xfrm>
          <a:solidFill>
            <a:schemeClr val="bg1"/>
          </a:solidFill>
        </p:spPr>
        <p:txBody>
          <a:bodyPr lIns="360000" tIns="360000" rIns="360000" bIns="360000">
            <a:spAutoFit/>
          </a:bodyPr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GB" dirty="0"/>
              <a:t>Edit text by clicking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7" name="Medienplatzhalter 10">
            <a:extLst>
              <a:ext uri="{FF2B5EF4-FFF2-40B4-BE49-F238E27FC236}">
                <a16:creationId xmlns:a16="http://schemas.microsoft.com/office/drawing/2014/main" id="{159801EE-1306-4BBD-B863-DD9BDE2F2ED3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8" name="Rechteck 20">
            <a:extLst>
              <a:ext uri="{FF2B5EF4-FFF2-40B4-BE49-F238E27FC236}">
                <a16:creationId xmlns:a16="http://schemas.microsoft.com/office/drawing/2014/main" id="{10927972-9274-47DB-8AF3-0166BBB9007D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78730266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107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| Short Text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38F91E87-79CD-4519-8A64-5473CE34111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12191999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spcBef>
                <a:spcPts val="0"/>
              </a:spcBef>
              <a:defRPr lang="en-GB" sz="1000" b="0" dirty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E2E9145B-146A-4E92-A5DD-2AF8660E1E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399463" y="1700213"/>
            <a:ext cx="3313112" cy="2283932"/>
          </a:xfrm>
          <a:solidFill>
            <a:schemeClr val="bg1"/>
          </a:solidFill>
        </p:spPr>
        <p:txBody>
          <a:bodyPr lIns="360000" tIns="360000" rIns="360000" bIns="360000">
            <a:spAutoFit/>
          </a:bodyPr>
          <a:lstStyle>
            <a:lvl1pPr>
              <a:defRPr b="1">
                <a:latin typeface="+mj-lt"/>
              </a:defRPr>
            </a:lvl1pPr>
          </a:lstStyle>
          <a:p>
            <a:pPr lvl="0"/>
            <a:r>
              <a:rPr lang="en-GB" dirty="0"/>
              <a:t>Edit text by clicking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</p:txBody>
      </p:sp>
      <p:sp>
        <p:nvSpPr>
          <p:cNvPr id="6" name="Medienplatzhalter 10">
            <a:extLst>
              <a:ext uri="{FF2B5EF4-FFF2-40B4-BE49-F238E27FC236}">
                <a16:creationId xmlns:a16="http://schemas.microsoft.com/office/drawing/2014/main" id="{3B261380-B4CD-433F-B472-327FDA58049A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8" name="Rechteck 20">
            <a:extLst>
              <a:ext uri="{FF2B5EF4-FFF2-40B4-BE49-F238E27FC236}">
                <a16:creationId xmlns:a16="http://schemas.microsoft.com/office/drawing/2014/main" id="{E2E1B5B3-F0AF-44E3-93F3-81F6532334D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1338359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107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| 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9E6F2D0C-4EC0-4B2F-90F0-433F7F8BCF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4" name="Medienplatzhalter 10">
            <a:extLst>
              <a:ext uri="{FF2B5EF4-FFF2-40B4-BE49-F238E27FC236}">
                <a16:creationId xmlns:a16="http://schemas.microsoft.com/office/drawing/2014/main" id="{CF2D8C8F-0BC8-4716-BC12-CB5F5BDD8B5E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6" name="Rechteck 20">
            <a:extLst>
              <a:ext uri="{FF2B5EF4-FFF2-40B4-BE49-F238E27FC236}">
                <a16:creationId xmlns:a16="http://schemas.microsoft.com/office/drawing/2014/main" id="{9BF320BE-03E1-4CF3-999B-8CEB910750D8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148323066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107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Picture |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: Shape 93">
            <a:extLst>
              <a:ext uri="{FF2B5EF4-FFF2-40B4-BE49-F238E27FC236}">
                <a16:creationId xmlns:a16="http://schemas.microsoft.com/office/drawing/2014/main" id="{C2E74470-3CAC-4F1B-B535-131CDA56A6A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550863 w 12191999"/>
              <a:gd name="connsiteY2" fmla="*/ 3996080 h 6858000"/>
              <a:gd name="connsiteX3" fmla="*/ 4151784 w 12191999"/>
              <a:gd name="connsiteY3" fmla="*/ 3996080 h 6858000"/>
              <a:gd name="connsiteX4" fmla="*/ 4151784 w 12191999"/>
              <a:gd name="connsiteY4" fmla="*/ 0 h 6858000"/>
              <a:gd name="connsiteX5" fmla="*/ 4330863 w 12191999"/>
              <a:gd name="connsiteY5" fmla="*/ 0 h 6858000"/>
              <a:gd name="connsiteX6" fmla="*/ 4547828 w 12191999"/>
              <a:gd name="connsiteY6" fmla="*/ 0 h 6858000"/>
              <a:gd name="connsiteX7" fmla="*/ 12191999 w 12191999"/>
              <a:gd name="connsiteY7" fmla="*/ 0 h 6858000"/>
              <a:gd name="connsiteX8" fmla="*/ 12191999 w 12191999"/>
              <a:gd name="connsiteY8" fmla="*/ 6858000 h 6858000"/>
              <a:gd name="connsiteX9" fmla="*/ 0 w 12191999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550863" y="3996080"/>
                </a:lnTo>
                <a:lnTo>
                  <a:pt x="4151784" y="399608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1916864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408511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11424" y="3294080"/>
            <a:ext cx="2757844" cy="342000"/>
          </a:xfrm>
          <a:prstGeom prst="rect">
            <a:avLst/>
          </a:prstGeom>
        </p:spPr>
      </p:pic>
      <p:cxnSp>
        <p:nvCxnSpPr>
          <p:cNvPr id="40" name="Gerader Verbinder 14">
            <a:extLst>
              <a:ext uri="{FF2B5EF4-FFF2-40B4-BE49-F238E27FC236}">
                <a16:creationId xmlns:a16="http://schemas.microsoft.com/office/drawing/2014/main" id="{36DF816C-E893-4E38-9231-BB4A1CF3CDE2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18">
            <a:extLst>
              <a:ext uri="{FF2B5EF4-FFF2-40B4-BE49-F238E27FC236}">
                <a16:creationId xmlns:a16="http://schemas.microsoft.com/office/drawing/2014/main" id="{A001AB83-C409-4957-B7BE-4B1DDE801A1E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30" name="Gerader Verbinder 12">
            <a:extLst>
              <a:ext uri="{FF2B5EF4-FFF2-40B4-BE49-F238E27FC236}">
                <a16:creationId xmlns:a16="http://schemas.microsoft.com/office/drawing/2014/main" id="{2D6B89C2-0923-4257-B003-8ED88D5ED87C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19">
            <a:extLst>
              <a:ext uri="{FF2B5EF4-FFF2-40B4-BE49-F238E27FC236}">
                <a16:creationId xmlns:a16="http://schemas.microsoft.com/office/drawing/2014/main" id="{6E70A3C7-44D7-4EF0-96AA-D2D0BB919D38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33DD9DD0-1FAC-4F69-9675-E7CD9DB96F12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BD85147A-8C79-4832-920E-DB1A9D524EF6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5" name="Gerader Verbinder 44">
            <a:extLst>
              <a:ext uri="{FF2B5EF4-FFF2-40B4-BE49-F238E27FC236}">
                <a16:creationId xmlns:a16="http://schemas.microsoft.com/office/drawing/2014/main" id="{10DEA9E5-CDAD-4701-AC20-EB448B865A53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hteck 45">
            <a:extLst>
              <a:ext uri="{FF2B5EF4-FFF2-40B4-BE49-F238E27FC236}">
                <a16:creationId xmlns:a16="http://schemas.microsoft.com/office/drawing/2014/main" id="{FC0FBE69-4238-4948-9203-DDC000494C41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E5A6E938-6CFC-468F-A18A-72B5B52645AC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8" name="Rechteck 20">
            <a:extLst>
              <a:ext uri="{FF2B5EF4-FFF2-40B4-BE49-F238E27FC236}">
                <a16:creationId xmlns:a16="http://schemas.microsoft.com/office/drawing/2014/main" id="{ECEDC10B-9586-47AB-AAE0-3C2E8C1A1CE1}"/>
              </a:ext>
            </a:extLst>
          </p:cNvPr>
          <p:cNvSpPr/>
          <p:nvPr/>
        </p:nvSpPr>
        <p:spPr bwMode="gray">
          <a:xfrm>
            <a:off x="-1932688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73879554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ildplatzhalter 32">
            <a:extLst>
              <a:ext uri="{FF2B5EF4-FFF2-40B4-BE49-F238E27FC236}">
                <a16:creationId xmlns:a16="http://schemas.microsoft.com/office/drawing/2014/main" id="{9E6F2D0C-4EC0-4B2F-90F0-433F7F8BCF8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6" name="Medienplatzhalter 10">
            <a:extLst>
              <a:ext uri="{FF2B5EF4-FFF2-40B4-BE49-F238E27FC236}">
                <a16:creationId xmlns:a16="http://schemas.microsoft.com/office/drawing/2014/main" id="{0B2A4C7F-6EAA-4CCD-A310-B0B6BFB647DF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5" name="Rechteck 20">
            <a:extLst>
              <a:ext uri="{FF2B5EF4-FFF2-40B4-BE49-F238E27FC236}">
                <a16:creationId xmlns:a16="http://schemas.microsoft.com/office/drawing/2014/main" id="{3D9AC2EB-D272-43C7-B720-BC16972BDDA8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10481385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107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Movie | 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628E0EB6-330B-4CE9-8329-3CD2375BEC6C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0" y="0"/>
            <a:ext cx="12192000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defRPr lang="de-DE" sz="1000" b="0"/>
            </a:lvl1pPr>
          </a:lstStyle>
          <a:p>
            <a:pPr lvl="0" algn="ctr">
              <a:spcBef>
                <a:spcPts val="0"/>
              </a:spcBef>
            </a:pPr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5" name="Medienplatzhalter 10">
            <a:extLst>
              <a:ext uri="{FF2B5EF4-FFF2-40B4-BE49-F238E27FC236}">
                <a16:creationId xmlns:a16="http://schemas.microsoft.com/office/drawing/2014/main" id="{336EFCCF-A188-4EDC-8574-E1D11462BEAC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648245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  <p15:guide id="2" orient="horz" pos="3838">
          <p15:clr>
            <a:srgbClr val="FBAE40"/>
          </p15:clr>
        </p15:guide>
        <p15:guide id="3" pos="347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Movie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enplatzhalter 2">
            <a:extLst>
              <a:ext uri="{FF2B5EF4-FFF2-40B4-BE49-F238E27FC236}">
                <a16:creationId xmlns:a16="http://schemas.microsoft.com/office/drawing/2014/main" id="{628E0EB6-330B-4CE9-8329-3CD2375BEC6C}"/>
              </a:ext>
            </a:extLst>
          </p:cNvPr>
          <p:cNvSpPr>
            <a:spLocks noGrp="1"/>
          </p:cNvSpPr>
          <p:nvPr>
            <p:ph type="media" sz="quarter" idx="20"/>
          </p:nvPr>
        </p:nvSpPr>
        <p:spPr bwMode="gray">
          <a:xfrm>
            <a:off x="0" y="0"/>
            <a:ext cx="12192000" cy="6858000"/>
          </a:xfrm>
          <a:solidFill>
            <a:schemeClr val="accent1"/>
          </a:solidFill>
        </p:spPr>
        <p:txBody>
          <a:bodyPr vert="horz" wrap="square" lIns="0" tIns="0" rIns="0" bIns="864000" rtlCol="0" anchor="ctr">
            <a:noAutofit/>
          </a:bodyPr>
          <a:lstStyle>
            <a:lvl1pPr algn="ctr">
              <a:defRPr lang="de-DE" sz="1000" b="0"/>
            </a:lvl1pPr>
          </a:lstStyle>
          <a:p>
            <a:pPr lvl="0" algn="ctr">
              <a:spcBef>
                <a:spcPts val="0"/>
              </a:spcBef>
            </a:pPr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5" name="Medienplatzhalter 10">
            <a:extLst>
              <a:ext uri="{FF2B5EF4-FFF2-40B4-BE49-F238E27FC236}">
                <a16:creationId xmlns:a16="http://schemas.microsoft.com/office/drawing/2014/main" id="{DF8247B5-BE22-49C6-9B3B-1353DC41CA2F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60497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| Grey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C03B6D6-3095-47EF-95ED-D834C7603231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20002-490B-4691-BFF8-1C275B8E3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728000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  <a:br>
              <a:rPr lang="en-GB" dirty="0"/>
            </a:br>
            <a:r>
              <a:rPr lang="en-GB" dirty="0"/>
              <a:t>Maximum two lin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88487D2-0557-4F50-BBA8-B6A33616AB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5D8B497D-2AA9-46F4-826E-2F17BBA66348}"/>
              </a:ext>
            </a:extLst>
          </p:cNvPr>
          <p:cNvSpPr/>
          <p:nvPr/>
        </p:nvSpPr>
        <p:spPr bwMode="gray">
          <a:xfrm>
            <a:off x="550863" y="2204872"/>
            <a:ext cx="720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126585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5" pos="3659">
          <p15:clr>
            <a:srgbClr val="FBAE40"/>
          </p15:clr>
        </p15:guide>
        <p15:guide id="7" orient="horz" pos="3838">
          <p15:clr>
            <a:srgbClr val="FBAE40"/>
          </p15:clr>
        </p15:guide>
        <p15:guide id="8" orient="horz" pos="34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| Grey | 1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C03B6D6-3095-47EF-95ED-D834C7603231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20002-490B-4691-BFF8-1C275B8E3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188132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88487D2-0557-4F50-BBA8-B6A33616AB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6" name="Rechteck 4">
            <a:extLst>
              <a:ext uri="{FF2B5EF4-FFF2-40B4-BE49-F238E27FC236}">
                <a16:creationId xmlns:a16="http://schemas.microsoft.com/office/drawing/2014/main" id="{1A0C0E0B-E95F-4F6F-8CE2-A7B037F99579}"/>
              </a:ext>
            </a:extLst>
          </p:cNvPr>
          <p:cNvSpPr/>
          <p:nvPr/>
        </p:nvSpPr>
        <p:spPr bwMode="gray">
          <a:xfrm>
            <a:off x="550863" y="1664804"/>
            <a:ext cx="720000" cy="72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0198623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3659">
          <p15:clr>
            <a:srgbClr val="FBAE40"/>
          </p15:clr>
        </p15:guide>
        <p15:guide id="6" orient="horz" pos="34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| Picture | Posi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32">
            <a:extLst>
              <a:ext uri="{FF2B5EF4-FFF2-40B4-BE49-F238E27FC236}">
                <a16:creationId xmlns:a16="http://schemas.microsoft.com/office/drawing/2014/main" id="{931A4AC6-21C7-497E-99BE-27B737BFAED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92DD9D5-187D-4B2E-9329-6BAE079E9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728000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  <a:br>
              <a:rPr lang="en-GB" dirty="0"/>
            </a:br>
            <a:r>
              <a:rPr lang="en-GB" dirty="0"/>
              <a:t>Maximum two lines</a:t>
            </a:r>
          </a:p>
        </p:txBody>
      </p:sp>
      <p:sp>
        <p:nvSpPr>
          <p:cNvPr id="9" name="Medienplatzhalter 10">
            <a:extLst>
              <a:ext uri="{FF2B5EF4-FFF2-40B4-BE49-F238E27FC236}">
                <a16:creationId xmlns:a16="http://schemas.microsoft.com/office/drawing/2014/main" id="{2DD2473A-068F-4124-B2A1-D0D36BCA6D3B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10" name="Rechteck 20">
            <a:extLst>
              <a:ext uri="{FF2B5EF4-FFF2-40B4-BE49-F238E27FC236}">
                <a16:creationId xmlns:a16="http://schemas.microsoft.com/office/drawing/2014/main" id="{06245D7B-5B26-4314-A2A3-CF5C7ECD407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AA9CA24C-FC5E-4E75-91C0-E002F436CB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2204896"/>
            <a:ext cx="720000" cy="720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8" name="Rechteck 16">
            <a:extLst>
              <a:ext uri="{FF2B5EF4-FFF2-40B4-BE49-F238E27FC236}">
                <a16:creationId xmlns:a16="http://schemas.microsoft.com/office/drawing/2014/main" id="{CDA8AE58-66A8-4EFE-B3A8-C2BCA36A0AC2}"/>
              </a:ext>
            </a:extLst>
          </p:cNvPr>
          <p:cNvSpPr/>
          <p:nvPr/>
        </p:nvSpPr>
        <p:spPr bwMode="gray">
          <a:xfrm>
            <a:off x="-1932688" y="1340768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19" name="Gerader Verbinder 14">
            <a:extLst>
              <a:ext uri="{FF2B5EF4-FFF2-40B4-BE49-F238E27FC236}">
                <a16:creationId xmlns:a16="http://schemas.microsoft.com/office/drawing/2014/main" id="{F2B1C722-1DAB-4049-8438-A65E1F6E8BFB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20489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18">
            <a:extLst>
              <a:ext uri="{FF2B5EF4-FFF2-40B4-BE49-F238E27FC236}">
                <a16:creationId xmlns:a16="http://schemas.microsoft.com/office/drawing/2014/main" id="{3B82A232-9965-49DC-9AF7-3C27605EB2CE}"/>
              </a:ext>
            </a:extLst>
          </p:cNvPr>
          <p:cNvSpPr/>
          <p:nvPr/>
        </p:nvSpPr>
        <p:spPr bwMode="gray">
          <a:xfrm>
            <a:off x="-1932688" y="220489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(3.40)</a:t>
            </a:r>
          </a:p>
        </p:txBody>
      </p:sp>
      <p:cxnSp>
        <p:nvCxnSpPr>
          <p:cNvPr id="21" name="Gerader Verbinder 51">
            <a:extLst>
              <a:ext uri="{FF2B5EF4-FFF2-40B4-BE49-F238E27FC236}">
                <a16:creationId xmlns:a16="http://schemas.microsoft.com/office/drawing/2014/main" id="{9A490FF3-5166-4BA7-8E94-46F43A53B6EA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664836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52">
            <a:extLst>
              <a:ext uri="{FF2B5EF4-FFF2-40B4-BE49-F238E27FC236}">
                <a16:creationId xmlns:a16="http://schemas.microsoft.com/office/drawing/2014/main" id="{5F99EA79-56EC-49E4-9573-6B38AB2D6233}"/>
              </a:ext>
            </a:extLst>
          </p:cNvPr>
          <p:cNvSpPr/>
          <p:nvPr/>
        </p:nvSpPr>
        <p:spPr bwMode="gray">
          <a:xfrm>
            <a:off x="-1932688" y="166483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 (4.90)</a:t>
            </a:r>
          </a:p>
        </p:txBody>
      </p:sp>
    </p:spTree>
    <p:extLst>
      <p:ext uri="{BB962C8B-B14F-4D97-AF65-F5344CB8AC3E}">
        <p14:creationId xmlns:p14="http://schemas.microsoft.com/office/powerpoint/2010/main" val="160886681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46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| Picture | Neg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32">
            <a:extLst>
              <a:ext uri="{FF2B5EF4-FFF2-40B4-BE49-F238E27FC236}">
                <a16:creationId xmlns:a16="http://schemas.microsoft.com/office/drawing/2014/main" id="{D37240FD-FBB7-4CE3-AD8C-502F91504A2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92DD9D5-187D-4B2E-9329-6BAE079E9E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584" cy="1728000"/>
          </a:xfrm>
          <a:noFill/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  <a:br>
              <a:rPr lang="en-GB" dirty="0"/>
            </a:br>
            <a:r>
              <a:rPr lang="en-GB" dirty="0"/>
              <a:t>Maximum two lines</a:t>
            </a:r>
          </a:p>
        </p:txBody>
      </p:sp>
      <p:sp>
        <p:nvSpPr>
          <p:cNvPr id="9" name="Medienplatzhalter 10">
            <a:extLst>
              <a:ext uri="{FF2B5EF4-FFF2-40B4-BE49-F238E27FC236}">
                <a16:creationId xmlns:a16="http://schemas.microsoft.com/office/drawing/2014/main" id="{38A6776F-3133-4A65-BF0C-43B9BF71EA59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10" name="Rechteck 20">
            <a:extLst>
              <a:ext uri="{FF2B5EF4-FFF2-40B4-BE49-F238E27FC236}">
                <a16:creationId xmlns:a16="http://schemas.microsoft.com/office/drawing/2014/main" id="{662DC8C3-C41D-4E69-96D8-A306131505C6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09AEEC64-8B03-4196-B87F-7F808AE52FF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4" y="2204896"/>
            <a:ext cx="720000" cy="720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15" name="Rechteck 16">
            <a:extLst>
              <a:ext uri="{FF2B5EF4-FFF2-40B4-BE49-F238E27FC236}">
                <a16:creationId xmlns:a16="http://schemas.microsoft.com/office/drawing/2014/main" id="{4B1C245E-AC74-45F6-A487-632D4955EE5A}"/>
              </a:ext>
            </a:extLst>
          </p:cNvPr>
          <p:cNvSpPr/>
          <p:nvPr/>
        </p:nvSpPr>
        <p:spPr bwMode="gray">
          <a:xfrm>
            <a:off x="-1932688" y="1340768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16" name="Gerader Verbinder 14">
            <a:extLst>
              <a:ext uri="{FF2B5EF4-FFF2-40B4-BE49-F238E27FC236}">
                <a16:creationId xmlns:a16="http://schemas.microsoft.com/office/drawing/2014/main" id="{C391F2E5-3062-4B7C-BBCC-FF86A9C1989C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20489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8">
            <a:extLst>
              <a:ext uri="{FF2B5EF4-FFF2-40B4-BE49-F238E27FC236}">
                <a16:creationId xmlns:a16="http://schemas.microsoft.com/office/drawing/2014/main" id="{EF7E0480-4BAC-45C0-AD22-D0AA76A329C6}"/>
              </a:ext>
            </a:extLst>
          </p:cNvPr>
          <p:cNvSpPr/>
          <p:nvPr/>
        </p:nvSpPr>
        <p:spPr bwMode="gray">
          <a:xfrm>
            <a:off x="-1932688" y="220489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(3.40)</a:t>
            </a:r>
          </a:p>
        </p:txBody>
      </p:sp>
      <p:cxnSp>
        <p:nvCxnSpPr>
          <p:cNvPr id="19" name="Gerader Verbinder 51">
            <a:extLst>
              <a:ext uri="{FF2B5EF4-FFF2-40B4-BE49-F238E27FC236}">
                <a16:creationId xmlns:a16="http://schemas.microsoft.com/office/drawing/2014/main" id="{DFB94555-EDB4-48D5-B57F-3CBA1154CD16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664836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eck 52">
            <a:extLst>
              <a:ext uri="{FF2B5EF4-FFF2-40B4-BE49-F238E27FC236}">
                <a16:creationId xmlns:a16="http://schemas.microsoft.com/office/drawing/2014/main" id="{B4B69D30-91CE-4E20-8C12-BAD411CF22BE}"/>
              </a:ext>
            </a:extLst>
          </p:cNvPr>
          <p:cNvSpPr/>
          <p:nvPr/>
        </p:nvSpPr>
        <p:spPr bwMode="gray">
          <a:xfrm>
            <a:off x="-1932688" y="166483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 (4.90)</a:t>
            </a:r>
          </a:p>
        </p:txBody>
      </p:sp>
    </p:spTree>
    <p:extLst>
      <p:ext uri="{BB962C8B-B14F-4D97-AF65-F5344CB8AC3E}">
        <p14:creationId xmlns:p14="http://schemas.microsoft.com/office/powerpoint/2010/main" val="247945917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orient="horz" pos="346">
          <p15:clr>
            <a:srgbClr val="FBAE40"/>
          </p15:clr>
        </p15:guide>
        <p15:guide id="3" pos="347">
          <p15:clr>
            <a:srgbClr val="FBAE40"/>
          </p15:clr>
        </p15:guide>
        <p15:guide id="4" pos="737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| Colour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C03B6D6-3095-47EF-95ED-D834C7603231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20002-490B-4691-BFF8-1C275B8E3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728000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  <a:br>
              <a:rPr lang="en-GB" dirty="0"/>
            </a:br>
            <a:r>
              <a:rPr lang="en-GB" dirty="0"/>
              <a:t>Maximum two lines</a:t>
            </a:r>
          </a:p>
        </p:txBody>
      </p:sp>
      <p:pic>
        <p:nvPicPr>
          <p:cNvPr id="8" name="Graphic 13">
            <a:extLst>
              <a:ext uri="{FF2B5EF4-FFF2-40B4-BE49-F238E27FC236}">
                <a16:creationId xmlns:a16="http://schemas.microsoft.com/office/drawing/2014/main" id="{96CAC2A5-65A4-4037-9DEE-1932C431FE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C6FB3DFA-F6FA-4953-BD01-21454D52DC26}"/>
              </a:ext>
            </a:extLst>
          </p:cNvPr>
          <p:cNvSpPr/>
          <p:nvPr/>
        </p:nvSpPr>
        <p:spPr bwMode="gray">
          <a:xfrm>
            <a:off x="550863" y="2204872"/>
            <a:ext cx="720000" cy="72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5938406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000000"/>
          </p15:clr>
        </p15:guide>
        <p15:guide id="3" orient="horz" pos="346">
          <p15:clr>
            <a:srgbClr val="000000"/>
          </p15:clr>
        </p15:guide>
        <p15:guide id="4" orient="horz" pos="3838">
          <p15:clr>
            <a:srgbClr val="000000"/>
          </p15:clr>
        </p15:guide>
        <p15:guide id="5" pos="3659">
          <p15:clr>
            <a:srgbClr val="00000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Divider | Colour | 1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FC03B6D6-3095-47EF-95ED-D834C7603231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DC20002-490B-4691-BFF8-1C275B8E30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4" y="476672"/>
            <a:ext cx="5256000" cy="1188132"/>
          </a:xfrm>
          <a:noFill/>
          <a:ln>
            <a:noFill/>
          </a:ln>
        </p:spPr>
        <p:txBody>
          <a:bodyPr wrap="none" tIns="0" bIns="0" anchor="t" anchorCtr="0"/>
          <a:lstStyle>
            <a:lvl1pPr>
              <a:lnSpc>
                <a:spcPct val="90000"/>
              </a:lnSpc>
              <a:defRPr sz="4000" spc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00</a:t>
            </a:r>
            <a:br>
              <a:rPr lang="en-GB" dirty="0"/>
            </a:br>
            <a:r>
              <a:rPr lang="en-GB" dirty="0"/>
              <a:t>Name of chapter</a:t>
            </a:r>
          </a:p>
        </p:txBody>
      </p:sp>
      <p:pic>
        <p:nvPicPr>
          <p:cNvPr id="8" name="Graphic 13">
            <a:extLst>
              <a:ext uri="{FF2B5EF4-FFF2-40B4-BE49-F238E27FC236}">
                <a16:creationId xmlns:a16="http://schemas.microsoft.com/office/drawing/2014/main" id="{96CAC2A5-65A4-4037-9DEE-1932C431FE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6" name="Rechteck 4">
            <a:extLst>
              <a:ext uri="{FF2B5EF4-FFF2-40B4-BE49-F238E27FC236}">
                <a16:creationId xmlns:a16="http://schemas.microsoft.com/office/drawing/2014/main" id="{E89B7075-87E7-454A-9458-E2B4218E35F4}"/>
              </a:ext>
            </a:extLst>
          </p:cNvPr>
          <p:cNvSpPr/>
          <p:nvPr/>
        </p:nvSpPr>
        <p:spPr bwMode="gray">
          <a:xfrm>
            <a:off x="550863" y="1655288"/>
            <a:ext cx="720000" cy="72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8530984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000000"/>
          </p15:clr>
        </p15:guide>
        <p15:guide id="3" orient="horz" pos="346">
          <p15:clr>
            <a:srgbClr val="000000"/>
          </p15:clr>
        </p15:guide>
        <p15:guide id="4" orient="horz" pos="3838">
          <p15:clr>
            <a:srgbClr val="000000"/>
          </p15:clr>
        </p15:guide>
        <p15:guide id="5" pos="3659">
          <p15:clr>
            <a:srgbClr val="00000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| Bar |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2" y="620736"/>
            <a:ext cx="11161713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C27F0C3-643B-4532-9587-0733BF71990E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99AD6FB-CCF0-4AFA-98AC-63E6B6C0339B}"/>
              </a:ext>
            </a:extLst>
          </p:cNvPr>
          <p:cNvSpPr/>
          <p:nvPr/>
        </p:nvSpPr>
        <p:spPr bwMode="gray">
          <a:xfrm>
            <a:off x="550863" y="1091094"/>
            <a:ext cx="504000" cy="468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iebherr Text Office" panose="020B0604030000000000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222079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000000"/>
          </p15:clr>
        </p15:guide>
        <p15:guide id="2" pos="7378">
          <p15:clr>
            <a:srgbClr val="000000"/>
          </p15:clr>
        </p15:guide>
        <p15:guide id="3" orient="horz" pos="1071">
          <p15:clr>
            <a:srgbClr val="000000"/>
          </p15:clr>
        </p15:guide>
        <p15:guide id="4" orient="horz" pos="3838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Picture |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D02B3C34-98AF-4178-BE4A-5F1061773E6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550863 w 12191999"/>
              <a:gd name="connsiteY2" fmla="*/ 3455996 h 6858000"/>
              <a:gd name="connsiteX3" fmla="*/ 4151784 w 12191999"/>
              <a:gd name="connsiteY3" fmla="*/ 3455996 h 6858000"/>
              <a:gd name="connsiteX4" fmla="*/ 4151784 w 12191999"/>
              <a:gd name="connsiteY4" fmla="*/ 0 h 6858000"/>
              <a:gd name="connsiteX5" fmla="*/ 4330863 w 12191999"/>
              <a:gd name="connsiteY5" fmla="*/ 0 h 6858000"/>
              <a:gd name="connsiteX6" fmla="*/ 4547828 w 12191999"/>
              <a:gd name="connsiteY6" fmla="*/ 0 h 6858000"/>
              <a:gd name="connsiteX7" fmla="*/ 12191999 w 12191999"/>
              <a:gd name="connsiteY7" fmla="*/ 0 h 6858000"/>
              <a:gd name="connsiteX8" fmla="*/ 12191999 w 12191999"/>
              <a:gd name="connsiteY8" fmla="*/ 6858000 h 6858000"/>
              <a:gd name="connsiteX9" fmla="*/ 0 w 12191999"/>
              <a:gd name="connsiteY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550863" y="3455996"/>
                </a:lnTo>
                <a:lnTo>
                  <a:pt x="4151784" y="3455996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911425" y="1340800"/>
            <a:ext cx="2844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354865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11425" y="548688"/>
            <a:ext cx="2844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One-line title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AB9713DC-5CAF-411B-B206-47E9095CDD08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EF82307-893F-4B19-88D7-16DD90AF1835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911424" y="2754020"/>
            <a:ext cx="2757844" cy="342000"/>
          </a:xfrm>
          <a:prstGeom prst="rect">
            <a:avLst/>
          </a:prstGeom>
        </p:spPr>
      </p:pic>
      <p:cxnSp>
        <p:nvCxnSpPr>
          <p:cNvPr id="33" name="Gerader Verbinder 12">
            <a:extLst>
              <a:ext uri="{FF2B5EF4-FFF2-40B4-BE49-F238E27FC236}">
                <a16:creationId xmlns:a16="http://schemas.microsoft.com/office/drawing/2014/main" id="{C62FEED5-0BAB-4A1B-AFFE-97DE4E39538E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hteck 19">
            <a:extLst>
              <a:ext uri="{FF2B5EF4-FFF2-40B4-BE49-F238E27FC236}">
                <a16:creationId xmlns:a16="http://schemas.microsoft.com/office/drawing/2014/main" id="{79FADC43-CC12-4097-AB8E-FC3AB8F1FF44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2536F5DE-2DFC-4C6F-8D08-1C02B1AC3082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81098D61-C7A0-4E56-BB07-9F398C56EF7D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38" name="Gerader Verbinder 14">
            <a:extLst>
              <a:ext uri="{FF2B5EF4-FFF2-40B4-BE49-F238E27FC236}">
                <a16:creationId xmlns:a16="http://schemas.microsoft.com/office/drawing/2014/main" id="{D93BEB48-A938-4D66-A8C6-40CFA5254E7D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hteck 18">
            <a:extLst>
              <a:ext uri="{FF2B5EF4-FFF2-40B4-BE49-F238E27FC236}">
                <a16:creationId xmlns:a16="http://schemas.microsoft.com/office/drawing/2014/main" id="{1925B2AD-614C-41D5-831C-A7F24C529462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57C045B1-DDF2-4AF2-832A-F70A4D64D11B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1" name="Rechteck 20">
            <a:extLst>
              <a:ext uri="{FF2B5EF4-FFF2-40B4-BE49-F238E27FC236}">
                <a16:creationId xmlns:a16="http://schemas.microsoft.com/office/drawing/2014/main" id="{6DC03926-5CC6-4581-99F3-D2C83A8DF0E5}"/>
              </a:ext>
            </a:extLst>
          </p:cNvPr>
          <p:cNvSpPr/>
          <p:nvPr/>
        </p:nvSpPr>
        <p:spPr bwMode="gray">
          <a:xfrm>
            <a:off x="-1932688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1498811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|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0862" y="620736"/>
            <a:ext cx="11161713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C27F0C3-643B-4532-9587-0733BF71990E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791892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000000"/>
          </p15:clr>
        </p15:guide>
        <p15:guide id="2" pos="7378">
          <p15:clr>
            <a:srgbClr val="000000"/>
          </p15:clr>
        </p15:guide>
        <p15:guide id="3" orient="horz" pos="1071">
          <p15:clr>
            <a:srgbClr val="000000"/>
          </p15:clr>
        </p15:guide>
        <p15:guide id="4" orient="horz" pos="3838">
          <p15:clr>
            <a:srgbClr val="00000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| Colou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8BF342BE-D8BE-4051-8A34-B76A139B5EE7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1C6867E9-C8FF-4041-B959-30EF08A16943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A1A34E6-7A2F-41C8-9EBC-70668DCE8AF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4C3D7330-5E2B-4FF9-9FDD-DBBF00AA74E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292884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071">
          <p15:clr>
            <a:srgbClr val="000000"/>
          </p15:clr>
        </p15:guide>
        <p15:guide id="2" orient="horz" pos="3838">
          <p15:clr>
            <a:srgbClr val="000000"/>
          </p15:clr>
        </p15:guide>
        <p15:guide id="3" pos="347">
          <p15:clr>
            <a:srgbClr val="000000"/>
          </p15:clr>
        </p15:guide>
        <p15:guide id="4" pos="7378">
          <p15:clr>
            <a:srgbClr val="00000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Grey | 4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3F787E9-5A0C-4B44-80C7-00A4823E87CF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4401108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in 4 lines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FD0A4FC0-D1A1-4676-8B79-0387C62742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cxnSp>
        <p:nvCxnSpPr>
          <p:cNvPr id="37" name="Gerader Verbinder 11">
            <a:extLst>
              <a:ext uri="{FF2B5EF4-FFF2-40B4-BE49-F238E27FC236}">
                <a16:creationId xmlns:a16="http://schemas.microsoft.com/office/drawing/2014/main" id="{54518DD7-5188-4639-ABA9-1CB135476C85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20">
            <a:extLst>
              <a:ext uri="{FF2B5EF4-FFF2-40B4-BE49-F238E27FC236}">
                <a16:creationId xmlns:a16="http://schemas.microsoft.com/office/drawing/2014/main" id="{D52ECA51-BBCB-431E-A9C8-81956E9EE5C6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FA8CEE6-D75D-4E5F-BFAF-3992FD2FD66E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cxnSp>
        <p:nvCxnSpPr>
          <p:cNvPr id="22" name="Gerader Verbinder 12">
            <a:extLst>
              <a:ext uri="{FF2B5EF4-FFF2-40B4-BE49-F238E27FC236}">
                <a16:creationId xmlns:a16="http://schemas.microsoft.com/office/drawing/2014/main" id="{0500CCA0-4BAC-4D17-914B-E45A7BC0575A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9">
            <a:extLst>
              <a:ext uri="{FF2B5EF4-FFF2-40B4-BE49-F238E27FC236}">
                <a16:creationId xmlns:a16="http://schemas.microsoft.com/office/drawing/2014/main" id="{C77F2614-11CB-4382-BB63-7B25DFC6D6A8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cxnSp>
        <p:nvCxnSpPr>
          <p:cNvPr id="24" name="Gerader Verbinder 14">
            <a:extLst>
              <a:ext uri="{FF2B5EF4-FFF2-40B4-BE49-F238E27FC236}">
                <a16:creationId xmlns:a16="http://schemas.microsoft.com/office/drawing/2014/main" id="{EEC6ED3B-CE86-4E41-9CA0-3DAA4D0C9324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18">
            <a:extLst>
              <a:ext uri="{FF2B5EF4-FFF2-40B4-BE49-F238E27FC236}">
                <a16:creationId xmlns:a16="http://schemas.microsoft.com/office/drawing/2014/main" id="{0779153E-3D2C-4D55-979B-A86ADC01F599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6" name="Gerader Verbinder 15">
            <a:extLst>
              <a:ext uri="{FF2B5EF4-FFF2-40B4-BE49-F238E27FC236}">
                <a16:creationId xmlns:a16="http://schemas.microsoft.com/office/drawing/2014/main" id="{4D121577-8C95-4822-BA32-EC7DB7A12DC8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7">
            <a:extLst>
              <a:ext uri="{FF2B5EF4-FFF2-40B4-BE49-F238E27FC236}">
                <a16:creationId xmlns:a16="http://schemas.microsoft.com/office/drawing/2014/main" id="{529ABFC4-9C9F-435D-8E20-75A3B090203B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</p:spTree>
    <p:extLst>
      <p:ext uri="{BB962C8B-B14F-4D97-AF65-F5344CB8AC3E}">
        <p14:creationId xmlns:p14="http://schemas.microsoft.com/office/powerpoint/2010/main" val="100027754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pos="717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Grey | 3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3F787E9-5A0C-4B44-80C7-00A4823E87CF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3573016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3 lines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FD0A4FC0-D1A1-4676-8B79-0387C62742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cxnSp>
        <p:nvCxnSpPr>
          <p:cNvPr id="41" name="Gerader Verbinder 12">
            <a:extLst>
              <a:ext uri="{FF2B5EF4-FFF2-40B4-BE49-F238E27FC236}">
                <a16:creationId xmlns:a16="http://schemas.microsoft.com/office/drawing/2014/main" id="{79389F0F-D5AC-4756-88BD-8F6242B3A753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19">
            <a:extLst>
              <a:ext uri="{FF2B5EF4-FFF2-40B4-BE49-F238E27FC236}">
                <a16:creationId xmlns:a16="http://schemas.microsoft.com/office/drawing/2014/main" id="{03DF64FA-B545-4817-BB6E-8653C860BFD1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cxnSp>
        <p:nvCxnSpPr>
          <p:cNvPr id="17" name="Gerader Verbinder 14">
            <a:extLst>
              <a:ext uri="{FF2B5EF4-FFF2-40B4-BE49-F238E27FC236}">
                <a16:creationId xmlns:a16="http://schemas.microsoft.com/office/drawing/2014/main" id="{FC9ECC6D-B2E8-49D3-8A06-BE4D2726BA01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8">
            <a:extLst>
              <a:ext uri="{FF2B5EF4-FFF2-40B4-BE49-F238E27FC236}">
                <a16:creationId xmlns:a16="http://schemas.microsoft.com/office/drawing/2014/main" id="{4CE8007E-0B72-418C-B9AD-2282D5EEDF06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36948092-1FC7-4A80-BD2B-3970AA6EE422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57680B6C-0103-4BC7-8EDA-1524F4AD5460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B76B7E60-1EA1-4338-96FB-5D1E398DECAD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D863F49C-62EC-4576-8B01-799556079CA9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056E060-4430-4117-A0F9-2CCB555FA185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305250758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pos="717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Grey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3F787E9-5A0C-4B44-80C7-00A4823E87CF}"/>
              </a:ext>
            </a:extLst>
          </p:cNvPr>
          <p:cNvSpPr/>
          <p:nvPr/>
        </p:nvSpPr>
        <p:spPr bwMode="gray">
          <a:xfrm>
            <a:off x="0" y="0"/>
            <a:ext cx="12191995" cy="6858000"/>
          </a:xfrm>
          <a:prstGeom prst="rect">
            <a:avLst/>
          </a:prstGeom>
          <a:solidFill>
            <a:schemeClr val="accent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660" y="2744924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65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.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FD0A4FC0-D1A1-4676-8B79-0387C62742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cxnSp>
        <p:nvCxnSpPr>
          <p:cNvPr id="52" name="Gerader Verbinder 14">
            <a:extLst>
              <a:ext uri="{FF2B5EF4-FFF2-40B4-BE49-F238E27FC236}">
                <a16:creationId xmlns:a16="http://schemas.microsoft.com/office/drawing/2014/main" id="{4FF9C5F9-E62C-467F-B2E7-A027CD8299AD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18">
            <a:extLst>
              <a:ext uri="{FF2B5EF4-FFF2-40B4-BE49-F238E27FC236}">
                <a16:creationId xmlns:a16="http://schemas.microsoft.com/office/drawing/2014/main" id="{DEAA44B2-2267-45F7-A03F-CAA98D1B33E5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4" name="Gerader Verbinder 15">
            <a:extLst>
              <a:ext uri="{FF2B5EF4-FFF2-40B4-BE49-F238E27FC236}">
                <a16:creationId xmlns:a16="http://schemas.microsoft.com/office/drawing/2014/main" id="{805E448C-6AFC-4B3B-BCA6-9383AAACB867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17">
            <a:extLst>
              <a:ext uri="{FF2B5EF4-FFF2-40B4-BE49-F238E27FC236}">
                <a16:creationId xmlns:a16="http://schemas.microsoft.com/office/drawing/2014/main" id="{389B3694-72E9-4C32-9BD3-CCB0247CF6D0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6" name="Gerader Verbinder 11">
            <a:extLst>
              <a:ext uri="{FF2B5EF4-FFF2-40B4-BE49-F238E27FC236}">
                <a16:creationId xmlns:a16="http://schemas.microsoft.com/office/drawing/2014/main" id="{BAC477BD-E5D8-4CF2-A698-779DF69ACCAB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20">
            <a:extLst>
              <a:ext uri="{FF2B5EF4-FFF2-40B4-BE49-F238E27FC236}">
                <a16:creationId xmlns:a16="http://schemas.microsoft.com/office/drawing/2014/main" id="{440B3356-4E07-4503-BD13-6F6DBAD217CB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8" name="Gerader Verbinder 12">
            <a:extLst>
              <a:ext uri="{FF2B5EF4-FFF2-40B4-BE49-F238E27FC236}">
                <a16:creationId xmlns:a16="http://schemas.microsoft.com/office/drawing/2014/main" id="{F698C8B9-EE6D-42DD-AF82-83201A6071B0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19">
            <a:extLst>
              <a:ext uri="{FF2B5EF4-FFF2-40B4-BE49-F238E27FC236}">
                <a16:creationId xmlns:a16="http://schemas.microsoft.com/office/drawing/2014/main" id="{8CEA59C0-F681-400B-9296-9F801BAFA679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D14F6485-4E17-414F-9FB2-44C203B47FE9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384547951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pos="7174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Picture | Positive | 4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2">
            <a:extLst>
              <a:ext uri="{FF2B5EF4-FFF2-40B4-BE49-F238E27FC236}">
                <a16:creationId xmlns:a16="http://schemas.microsoft.com/office/drawing/2014/main" id="{3A98076F-01C5-4107-967D-D973DF0023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4437112"/>
            <a:ext cx="1908000" cy="1008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tx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652" y="800708"/>
            <a:ext cx="1908000" cy="100800"/>
          </a:xfrm>
          <a:solidFill>
            <a:schemeClr val="tx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in 4 lines.</a:t>
            </a:r>
          </a:p>
        </p:txBody>
      </p:sp>
      <p:sp>
        <p:nvSpPr>
          <p:cNvPr id="17" name="Medienplatzhalter 10">
            <a:extLst>
              <a:ext uri="{FF2B5EF4-FFF2-40B4-BE49-F238E27FC236}">
                <a16:creationId xmlns:a16="http://schemas.microsoft.com/office/drawing/2014/main" id="{1570059F-7F12-405F-8FDF-46BA4608EC99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5E55A513-2CB8-4835-86F3-30D79EFF516D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08F6906A-BE5F-470A-9223-55F1ED0E50FF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9330352E-697B-4E99-AFAE-5BA6154BF0F8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E6199D89-2BB3-4380-8029-27F74B98A9A0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64B8AB36-E37A-4227-A768-FEB35339C693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7E910D7C-1F8C-4AAA-8F05-D5514E13AD89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EBFB88B7-040D-4F4B-8501-1F129D2CC986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3FE9A710-F07E-4D08-BFDB-B7972C139833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6E60700-659C-4E7C-8CC8-7365EAD3A95B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9C8DCB17-9775-4A4A-912E-BE35DA87212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131040562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pos="717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Picture | Positive | 3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32">
            <a:extLst>
              <a:ext uri="{FF2B5EF4-FFF2-40B4-BE49-F238E27FC236}">
                <a16:creationId xmlns:a16="http://schemas.microsoft.com/office/drawing/2014/main" id="{5F0BB837-EA6D-492D-944C-9132D7C6DB0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652" y="3609020"/>
            <a:ext cx="1908000" cy="1008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tx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652" y="800708"/>
            <a:ext cx="1908000" cy="100800"/>
          </a:xfrm>
          <a:solidFill>
            <a:schemeClr val="tx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3 lines.</a:t>
            </a:r>
          </a:p>
        </p:txBody>
      </p:sp>
      <p:sp>
        <p:nvSpPr>
          <p:cNvPr id="15" name="Medienplatzhalter 10">
            <a:extLst>
              <a:ext uri="{FF2B5EF4-FFF2-40B4-BE49-F238E27FC236}">
                <a16:creationId xmlns:a16="http://schemas.microsoft.com/office/drawing/2014/main" id="{8B2AD923-4F75-43F3-982B-08C76FF86C0A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A59DFA89-244B-4539-ADD4-39EA971CDAAF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F132613A-60A9-4273-A44B-5E3546595E3D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30DABC18-AAC4-4B0B-A4B7-E01D799A3694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7BE3BE41-A601-4905-81AC-A4702FCE298D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9CC150D5-D2C5-4516-B221-82DA8CBFEA5A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22C8E37A-AFCF-4F8A-A9B2-A0467B1EA00B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5CF5F2EA-A6F5-4780-B773-1E1AC802A9DA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86175ACF-42C4-4254-88F6-91082CAA0685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D35F6154-E29E-4CAE-A057-3F9201F9482E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85639148-8845-417F-A935-378ABD1F1CBF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45108799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pos="717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Picture | Positive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2">
            <a:extLst>
              <a:ext uri="{FF2B5EF4-FFF2-40B4-BE49-F238E27FC236}">
                <a16:creationId xmlns:a16="http://schemas.microsoft.com/office/drawing/2014/main" id="{76107A4F-5C87-421F-8470-AC311351EA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2816932"/>
            <a:ext cx="1908000" cy="100800"/>
          </a:xfrm>
          <a:solidFill>
            <a:schemeClr val="tx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tx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tx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652" y="800708"/>
            <a:ext cx="1908000" cy="100800"/>
          </a:xfrm>
          <a:solidFill>
            <a:schemeClr val="tx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.</a:t>
            </a:r>
          </a:p>
        </p:txBody>
      </p:sp>
      <p:sp>
        <p:nvSpPr>
          <p:cNvPr id="16" name="Medienplatzhalter 10">
            <a:extLst>
              <a:ext uri="{FF2B5EF4-FFF2-40B4-BE49-F238E27FC236}">
                <a16:creationId xmlns:a16="http://schemas.microsoft.com/office/drawing/2014/main" id="{C8D9BBC3-DF1E-4301-B052-080ECEAD932B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9FEA1639-35B4-4B7D-A7FA-8CEDCE8768A9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AAB63D3C-9F84-48C2-8943-EF3D14425375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66F1ABBE-7E7D-4151-A7F2-A8D7CED49467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767C48D8-28D2-4956-83F5-EDFBF3C47B9B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9EBBAC2E-778A-4EE2-81DC-0BBDE1F7D04F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B14970C9-0317-4A5B-964C-F311BEAE9ADC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2F377406-C7CD-46D7-9C97-51A6E3917557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56C6A31A-5099-4588-9EB3-DA71F76557DE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4DB2A308-9ED7-450A-B4E1-7691227D3728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E336E5F7-8AA0-4A5B-AEA0-15A9C92CA45C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4161162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pos="7174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Picture | Negative | 4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2">
            <a:extLst>
              <a:ext uri="{FF2B5EF4-FFF2-40B4-BE49-F238E27FC236}">
                <a16:creationId xmlns:a16="http://schemas.microsoft.com/office/drawing/2014/main" id="{3A98076F-01C5-4107-967D-D973DF0023A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6" name="Medienplatzhalter 10">
            <a:extLst>
              <a:ext uri="{FF2B5EF4-FFF2-40B4-BE49-F238E27FC236}">
                <a16:creationId xmlns:a16="http://schemas.microsoft.com/office/drawing/2014/main" id="{E8F13117-B162-439B-B0F2-ED762123510E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4437112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in 4 lines.</a:t>
            </a:r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D447D365-01A0-4B34-A795-EE11A730A21C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609FA97B-005D-4B2C-9CCD-FCBB6EA1397D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6F5F2D8D-2320-4E2D-AA9F-6FDF8EFD2015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ACFA7067-3EA5-4152-A67E-D3267BEAF46A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C5ECB209-0A9E-4223-BFDE-0F90BFBCEA6C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F859C506-B766-42AF-B924-1C8E1CC48E88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C6C1B001-7368-4F8E-B694-A884C925033B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6E2E3EBE-5542-4662-96B8-DBF85AE6C0A5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DC3A66A-1691-42AC-9220-54B6F00CECAE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1ECA9BFE-C313-4ACF-A05E-AA5FCC4442A6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81045985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pos="717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Picture | Negative | 3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ildplatzhalter 32">
            <a:extLst>
              <a:ext uri="{FF2B5EF4-FFF2-40B4-BE49-F238E27FC236}">
                <a16:creationId xmlns:a16="http://schemas.microsoft.com/office/drawing/2014/main" id="{5F0BB837-EA6D-492D-944C-9132D7C6DB0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8" name="Medienplatzhalter 10">
            <a:extLst>
              <a:ext uri="{FF2B5EF4-FFF2-40B4-BE49-F238E27FC236}">
                <a16:creationId xmlns:a16="http://schemas.microsoft.com/office/drawing/2014/main" id="{3151BE65-66F1-438E-A22D-36C5F133FAA7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3609020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 3 lines.</a:t>
            </a:r>
          </a:p>
        </p:txBody>
      </p:sp>
      <p:cxnSp>
        <p:nvCxnSpPr>
          <p:cNvPr id="16" name="Gerader Verbinder 14">
            <a:extLst>
              <a:ext uri="{FF2B5EF4-FFF2-40B4-BE49-F238E27FC236}">
                <a16:creationId xmlns:a16="http://schemas.microsoft.com/office/drawing/2014/main" id="{10652B1F-7576-421B-8410-1B98586C5D12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7AED11FE-83C5-4F4B-AC39-17392EF30840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9B80C75D-836E-4B70-8C8F-56B9CAC1412D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BE4A474D-AB4A-47AE-A53F-82566ECFDEC8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80DD69D8-2BE6-409D-81C1-F253A10D1F1D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22B5E249-208C-40B1-BF2C-44E49845B894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1D26CDD2-E64E-4486-8177-18759F6D4641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BE07AD09-9E16-48E8-BCA3-67B0F58E6634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8929B836-0EDF-4B91-8DDE-85E21C6B53E2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EC868179-3A13-4B04-B53C-14D0CE80DF09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41166339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pos="7174">
          <p15:clr>
            <a:srgbClr val="FBAE40"/>
          </p15:clr>
        </p15:guide>
        <p15:guide id="3" orient="horz" pos="504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Right | Picture | 4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7803CB24-2B37-451B-A162-63984F0EBC2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4151784 w 12191999"/>
              <a:gd name="connsiteY2" fmla="*/ 0 h 6858000"/>
              <a:gd name="connsiteX3" fmla="*/ 4330863 w 12191999"/>
              <a:gd name="connsiteY3" fmla="*/ 0 h 6858000"/>
              <a:gd name="connsiteX4" fmla="*/ 4547828 w 12191999"/>
              <a:gd name="connsiteY4" fmla="*/ 0 h 6858000"/>
              <a:gd name="connsiteX5" fmla="*/ 5015880 w 12191999"/>
              <a:gd name="connsiteY5" fmla="*/ 0 h 6858000"/>
              <a:gd name="connsiteX6" fmla="*/ 8112222 w 12191999"/>
              <a:gd name="connsiteY6" fmla="*/ 0 h 6858000"/>
              <a:gd name="connsiteX7" fmla="*/ 8112222 w 12191999"/>
              <a:gd name="connsiteY7" fmla="*/ 5085184 h 6858000"/>
              <a:gd name="connsiteX8" fmla="*/ 11712574 w 12191999"/>
              <a:gd name="connsiteY8" fmla="*/ 5085184 h 6858000"/>
              <a:gd name="connsiteX9" fmla="*/ 11712574 w 12191999"/>
              <a:gd name="connsiteY9" fmla="*/ 0 h 6858000"/>
              <a:gd name="connsiteX10" fmla="*/ 12191999 w 12191999"/>
              <a:gd name="connsiteY10" fmla="*/ 0 h 6858000"/>
              <a:gd name="connsiteX11" fmla="*/ 12191999 w 12191999"/>
              <a:gd name="connsiteY11" fmla="*/ 6858000 h 6858000"/>
              <a:gd name="connsiteX12" fmla="*/ 0 w 12191999"/>
              <a:gd name="connsiteY12" fmla="*/ 6858000 h 6858000"/>
              <a:gd name="connsiteX13" fmla="*/ 0 w 12191999"/>
              <a:gd name="connsiteY13" fmla="*/ 580526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5015880" y="0"/>
                </a:lnTo>
                <a:lnTo>
                  <a:pt x="8112222" y="0"/>
                </a:lnTo>
                <a:lnTo>
                  <a:pt x="8112222" y="5085184"/>
                </a:lnTo>
                <a:lnTo>
                  <a:pt x="11712574" y="5085184"/>
                </a:lnTo>
                <a:lnTo>
                  <a:pt x="11712574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lnTo>
                  <a:pt x="0" y="5805264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72665" y="3068992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2624" y="517158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7266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of the presentation in Liebherr Head 42p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472664" y="4383208"/>
            <a:ext cx="2757844" cy="342000"/>
          </a:xfrm>
          <a:prstGeom prst="rect">
            <a:avLst/>
          </a:prstGeom>
        </p:spPr>
      </p:pic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B44A21EE-495A-4218-8900-A12F32107E3A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EC4A95F7-8081-40C8-8AC5-5C33B7115462}"/>
              </a:ext>
            </a:extLst>
          </p:cNvPr>
          <p:cNvSpPr/>
          <p:nvPr/>
        </p:nvSpPr>
        <p:spPr bwMode="gray">
          <a:xfrm>
            <a:off x="12648523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1" name="Gerader Verbinder 12">
            <a:extLst>
              <a:ext uri="{FF2B5EF4-FFF2-40B4-BE49-F238E27FC236}">
                <a16:creationId xmlns:a16="http://schemas.microsoft.com/office/drawing/2014/main" id="{DD2DD7B1-C9BA-41C8-A166-B05C33FACA3F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19">
            <a:extLst>
              <a:ext uri="{FF2B5EF4-FFF2-40B4-BE49-F238E27FC236}">
                <a16:creationId xmlns:a16="http://schemas.microsoft.com/office/drawing/2014/main" id="{F907A6A5-135D-486F-8CD8-AD007F53933E}"/>
              </a:ext>
            </a:extLst>
          </p:cNvPr>
          <p:cNvSpPr/>
          <p:nvPr/>
        </p:nvSpPr>
        <p:spPr bwMode="gray">
          <a:xfrm>
            <a:off x="12648523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3" name="Gerader Verbinder 14">
            <a:extLst>
              <a:ext uri="{FF2B5EF4-FFF2-40B4-BE49-F238E27FC236}">
                <a16:creationId xmlns:a16="http://schemas.microsoft.com/office/drawing/2014/main" id="{BD993748-350A-4B3A-8994-1F6830086FAB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18">
            <a:extLst>
              <a:ext uri="{FF2B5EF4-FFF2-40B4-BE49-F238E27FC236}">
                <a16:creationId xmlns:a16="http://schemas.microsoft.com/office/drawing/2014/main" id="{E1062A76-42FE-40EC-975C-6F2C550381BD}"/>
              </a:ext>
            </a:extLst>
          </p:cNvPr>
          <p:cNvSpPr/>
          <p:nvPr/>
        </p:nvSpPr>
        <p:spPr bwMode="gray">
          <a:xfrm>
            <a:off x="12648523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CC8B3A37-4532-42DF-997A-0335B9BF0F76}"/>
              </a:ext>
            </a:extLst>
          </p:cNvPr>
          <p:cNvCxnSpPr>
            <a:cxnSpLocks/>
          </p:cNvCxnSpPr>
          <p:nvPr/>
        </p:nvCxnSpPr>
        <p:spPr bwMode="gray">
          <a:xfrm>
            <a:off x="12324692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hteck 46">
            <a:extLst>
              <a:ext uri="{FF2B5EF4-FFF2-40B4-BE49-F238E27FC236}">
                <a16:creationId xmlns:a16="http://schemas.microsoft.com/office/drawing/2014/main" id="{532FA1A8-3D2B-4A19-9DE4-14F8B6EC9E62}"/>
              </a:ext>
            </a:extLst>
          </p:cNvPr>
          <p:cNvSpPr/>
          <p:nvPr/>
        </p:nvSpPr>
        <p:spPr bwMode="gray">
          <a:xfrm>
            <a:off x="12648523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4058A467-BCB2-4E22-A05B-CAC47B5F6BB5}"/>
              </a:ext>
            </a:extLst>
          </p:cNvPr>
          <p:cNvSpPr/>
          <p:nvPr/>
        </p:nvSpPr>
        <p:spPr bwMode="gray">
          <a:xfrm>
            <a:off x="12324692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9" name="Rechteck 20">
            <a:extLst>
              <a:ext uri="{FF2B5EF4-FFF2-40B4-BE49-F238E27FC236}">
                <a16:creationId xmlns:a16="http://schemas.microsoft.com/office/drawing/2014/main" id="{567636DE-0C9D-4F34-97F5-A0357B365368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60914392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4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| Picture | Negative | 2 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2">
            <a:extLst>
              <a:ext uri="{FF2B5EF4-FFF2-40B4-BE49-F238E27FC236}">
                <a16:creationId xmlns:a16="http://schemas.microsoft.com/office/drawing/2014/main" id="{76107A4F-5C87-421F-8470-AC311351EA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17" name="Medienplatzhalter 10">
            <a:extLst>
              <a:ext uri="{FF2B5EF4-FFF2-40B4-BE49-F238E27FC236}">
                <a16:creationId xmlns:a16="http://schemas.microsoft.com/office/drawing/2014/main" id="{96BE2AE6-5073-4D8D-8DFE-21F3026B64A9}"/>
              </a:ext>
            </a:extLst>
          </p:cNvPr>
          <p:cNvSpPr>
            <a:spLocks noGrp="1"/>
          </p:cNvSpPr>
          <p:nvPr>
            <p:ph type="media" sz="quarter" idx="19"/>
          </p:nvPr>
        </p:nvSpPr>
        <p:spPr bwMode="gray">
          <a:xfrm>
            <a:off x="10552800" y="6525000"/>
            <a:ext cx="1159200" cy="14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fr-FR"/>
              <a:t>Cliquez sur l'icône pour ajouter l'élément multimédia</a:t>
            </a:r>
            <a:endParaRPr lang="de-DE" dirty="0"/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AF9D1077-9B22-449E-BDDD-1B53CF28E2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03412" y="2798452"/>
            <a:ext cx="1908000" cy="100800"/>
          </a:xfrm>
          <a:solidFill>
            <a:schemeClr val="bg1"/>
          </a:solidFill>
        </p:spPr>
        <p:txBody>
          <a:bodyPr t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1">
                <a:solidFill>
                  <a:schemeClr val="bg1">
                    <a:alpha val="0"/>
                  </a:schemeClr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 b="0">
                <a:solidFill>
                  <a:schemeClr val="bg1">
                    <a:alpha val="0"/>
                  </a:schemeClr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0" name="Titel 58">
            <a:extLst>
              <a:ext uri="{FF2B5EF4-FFF2-40B4-BE49-F238E27FC236}">
                <a16:creationId xmlns:a16="http://schemas.microsoft.com/office/drawing/2014/main" id="{45EA190B-E8AF-4459-8CCB-274A38DA3F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03412" y="800708"/>
            <a:ext cx="1908000" cy="100800"/>
          </a:xfrm>
          <a:solidFill>
            <a:schemeClr val="bg1"/>
          </a:solidFill>
        </p:spPr>
        <p:txBody>
          <a:bodyPr tIns="226800"/>
          <a:lstStyle>
            <a:lvl1pPr>
              <a:lnSpc>
                <a:spcPct val="90000"/>
              </a:lnSpc>
              <a:defRPr sz="6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hank</a:t>
            </a:r>
            <a:br>
              <a:rPr lang="en-GB" dirty="0"/>
            </a:br>
            <a:r>
              <a:rPr lang="en-GB" dirty="0"/>
              <a:t>you.</a:t>
            </a:r>
          </a:p>
        </p:txBody>
      </p:sp>
      <p:cxnSp>
        <p:nvCxnSpPr>
          <p:cNvPr id="18" name="Gerader Verbinder 14">
            <a:extLst>
              <a:ext uri="{FF2B5EF4-FFF2-40B4-BE49-F238E27FC236}">
                <a16:creationId xmlns:a16="http://schemas.microsoft.com/office/drawing/2014/main" id="{B0EF3392-E31D-4B54-9713-53F8A8B89E67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274492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18">
            <a:extLst>
              <a:ext uri="{FF2B5EF4-FFF2-40B4-BE49-F238E27FC236}">
                <a16:creationId xmlns:a16="http://schemas.microsoft.com/office/drawing/2014/main" id="{A7193CF5-2A1F-4AC8-A008-BA67657374B4}"/>
              </a:ext>
            </a:extLst>
          </p:cNvPr>
          <p:cNvSpPr/>
          <p:nvPr/>
        </p:nvSpPr>
        <p:spPr bwMode="gray">
          <a:xfrm>
            <a:off x="-1968692" y="274492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1.90)</a:t>
            </a:r>
          </a:p>
        </p:txBody>
      </p:sp>
      <p:cxnSp>
        <p:nvCxnSpPr>
          <p:cNvPr id="22" name="Gerader Verbinder 15">
            <a:extLst>
              <a:ext uri="{FF2B5EF4-FFF2-40B4-BE49-F238E27FC236}">
                <a16:creationId xmlns:a16="http://schemas.microsoft.com/office/drawing/2014/main" id="{4D100638-9B28-4747-BB92-1EE18FEA25C8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1916832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17">
            <a:extLst>
              <a:ext uri="{FF2B5EF4-FFF2-40B4-BE49-F238E27FC236}">
                <a16:creationId xmlns:a16="http://schemas.microsoft.com/office/drawing/2014/main" id="{D1F9138D-C432-4781-931E-1D99B97F0D55}"/>
              </a:ext>
            </a:extLst>
          </p:cNvPr>
          <p:cNvSpPr/>
          <p:nvPr/>
        </p:nvSpPr>
        <p:spPr bwMode="gray">
          <a:xfrm>
            <a:off x="-1968692" y="191683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4.20)</a:t>
            </a:r>
          </a:p>
        </p:txBody>
      </p:sp>
      <p:cxnSp>
        <p:nvCxnSpPr>
          <p:cNvPr id="24" name="Gerader Verbinder 11">
            <a:extLst>
              <a:ext uri="{FF2B5EF4-FFF2-40B4-BE49-F238E27FC236}">
                <a16:creationId xmlns:a16="http://schemas.microsoft.com/office/drawing/2014/main" id="{B01D4D36-45B6-40E2-AA6A-8BD09B0170CD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440110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0">
            <a:extLst>
              <a:ext uri="{FF2B5EF4-FFF2-40B4-BE49-F238E27FC236}">
                <a16:creationId xmlns:a16="http://schemas.microsoft.com/office/drawing/2014/main" id="{D18D8ABF-87BC-4A97-B69E-EADD2E5C0AC7}"/>
              </a:ext>
            </a:extLst>
          </p:cNvPr>
          <p:cNvSpPr/>
          <p:nvPr/>
        </p:nvSpPr>
        <p:spPr bwMode="gray">
          <a:xfrm>
            <a:off x="-1968692" y="440110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2.70)</a:t>
            </a:r>
          </a:p>
        </p:txBody>
      </p:sp>
      <p:cxnSp>
        <p:nvCxnSpPr>
          <p:cNvPr id="26" name="Gerader Verbinder 12">
            <a:extLst>
              <a:ext uri="{FF2B5EF4-FFF2-40B4-BE49-F238E27FC236}">
                <a16:creationId xmlns:a16="http://schemas.microsoft.com/office/drawing/2014/main" id="{D1165561-033C-48D7-8C65-C5EC59DC54F8}"/>
              </a:ext>
            </a:extLst>
          </p:cNvPr>
          <p:cNvCxnSpPr>
            <a:cxnSpLocks/>
          </p:cNvCxnSpPr>
          <p:nvPr/>
        </p:nvCxnSpPr>
        <p:spPr bwMode="gray">
          <a:xfrm>
            <a:off x="-1968692" y="3573016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 19">
            <a:extLst>
              <a:ext uri="{FF2B5EF4-FFF2-40B4-BE49-F238E27FC236}">
                <a16:creationId xmlns:a16="http://schemas.microsoft.com/office/drawing/2014/main" id="{0670AD24-09C3-41A8-ADF3-AD1244A3DBB2}"/>
              </a:ext>
            </a:extLst>
          </p:cNvPr>
          <p:cNvSpPr/>
          <p:nvPr/>
        </p:nvSpPr>
        <p:spPr bwMode="gray">
          <a:xfrm>
            <a:off x="-1968692" y="3573016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0.40)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B3464F4F-9EBB-40C3-8824-B620289F2A5A}"/>
              </a:ext>
            </a:extLst>
          </p:cNvPr>
          <p:cNvSpPr/>
          <p:nvPr/>
        </p:nvSpPr>
        <p:spPr bwMode="gray">
          <a:xfrm>
            <a:off x="-1932688" y="1484784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29" name="Rechteck 20">
            <a:extLst>
              <a:ext uri="{FF2B5EF4-FFF2-40B4-BE49-F238E27FC236}">
                <a16:creationId xmlns:a16="http://schemas.microsoft.com/office/drawing/2014/main" id="{57D61752-BFD4-4C77-AB0D-B45F1A14FC53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258836964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506">
          <p15:clr>
            <a:srgbClr val="FBAE40"/>
          </p15:clr>
        </p15:guide>
        <p15:guide id="2" orient="horz" pos="504">
          <p15:clr>
            <a:srgbClr val="FBAE40"/>
          </p15:clr>
        </p15:guide>
        <p15:guide id="3" pos="7174">
          <p15:clr>
            <a:srgbClr val="FBAE40"/>
          </p15:clr>
        </p15:guide>
        <p15:guide id="5" orient="horz" pos="383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FA2406-20AF-4E06-BD85-64819E24E6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GB" dirty="0"/>
              <a:t>Edit title master forma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A85A906F-404F-468E-A420-9B7A250284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50863" y="255981"/>
            <a:ext cx="11161712" cy="315912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Optional action line / navigation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5796CE18-9DC8-478D-9E0D-C0090CB669EA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C27F0C3-643B-4532-9587-0733BF71990E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1706927-F7DC-49A2-A53B-6D61EE99C3F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63950D4-40D4-406B-85DC-3D64E78E62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N°›</a:t>
            </a:fld>
            <a:endParaRPr lang="en-GB" dirty="0"/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D6D4AAFF-D2B4-4DE0-8D27-37E521D656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550863" y="2564904"/>
            <a:ext cx="2304000" cy="1871662"/>
          </a:xfrm>
        </p:spPr>
        <p:txBody>
          <a:bodyPr/>
          <a:lstStyle>
            <a:lvl1pPr>
              <a:spcBef>
                <a:spcPts val="200"/>
              </a:spcBef>
              <a:spcAft>
                <a:spcPts val="600"/>
              </a:spcAft>
              <a:defRPr/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200"/>
              </a:spcBef>
              <a:spcAft>
                <a:spcPts val="0"/>
              </a:spcAft>
              <a:buNone/>
              <a:defRPr sz="1400"/>
            </a:lvl3pPr>
            <a:lvl4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spcBef>
                <a:spcPts val="200"/>
              </a:spcBef>
              <a:buFontTx/>
              <a:buNone/>
              <a:defRPr sz="1400"/>
            </a:lvl9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  <a:p>
            <a:pPr lvl="1"/>
            <a:r>
              <a:rPr lang="en-GB" dirty="0"/>
              <a:t>Branch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Telephone</a:t>
            </a:r>
          </a:p>
          <a:p>
            <a:pPr lvl="1"/>
            <a:r>
              <a:rPr lang="en-GB" dirty="0"/>
              <a:t>E-mail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C61E6179-32AE-48CF-BDF1-FE41469F28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503968" y="2564904"/>
            <a:ext cx="2304000" cy="1871662"/>
          </a:xfrm>
        </p:spPr>
        <p:txBody>
          <a:bodyPr/>
          <a:lstStyle>
            <a:lvl1pPr>
              <a:spcBef>
                <a:spcPts val="200"/>
              </a:spcBef>
              <a:spcAft>
                <a:spcPts val="600"/>
              </a:spcAft>
              <a:defRPr/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200"/>
              </a:spcBef>
              <a:spcAft>
                <a:spcPts val="0"/>
              </a:spcAft>
              <a:buNone/>
              <a:defRPr sz="1400"/>
            </a:lvl3pPr>
            <a:lvl4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spcBef>
                <a:spcPts val="200"/>
              </a:spcBef>
              <a:buFontTx/>
              <a:buNone/>
              <a:defRPr sz="1400"/>
            </a:lvl9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  <a:p>
            <a:pPr lvl="1"/>
            <a:r>
              <a:rPr lang="en-GB" dirty="0"/>
              <a:t>Branch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Telephone</a:t>
            </a:r>
          </a:p>
          <a:p>
            <a:pPr lvl="1"/>
            <a:r>
              <a:rPr lang="en-GB" dirty="0"/>
              <a:t>E-mail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FAFD7F4E-C867-4CC4-8027-BF3C87D4A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457073" y="2564904"/>
            <a:ext cx="2304000" cy="1871662"/>
          </a:xfrm>
        </p:spPr>
        <p:txBody>
          <a:bodyPr/>
          <a:lstStyle>
            <a:lvl1pPr>
              <a:spcBef>
                <a:spcPts val="200"/>
              </a:spcBef>
              <a:spcAft>
                <a:spcPts val="600"/>
              </a:spcAft>
              <a:defRPr/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200"/>
              </a:spcBef>
              <a:spcAft>
                <a:spcPts val="0"/>
              </a:spcAft>
              <a:buNone/>
              <a:defRPr sz="1400"/>
            </a:lvl3pPr>
            <a:lvl4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spcBef>
                <a:spcPts val="200"/>
              </a:spcBef>
              <a:buFontTx/>
              <a:buNone/>
              <a:defRPr sz="1400"/>
            </a:lvl9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  <a:p>
            <a:pPr lvl="1"/>
            <a:r>
              <a:rPr lang="en-GB" dirty="0"/>
              <a:t>Branch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Telephone</a:t>
            </a:r>
          </a:p>
          <a:p>
            <a:pPr lvl="1"/>
            <a:r>
              <a:rPr lang="en-GB" dirty="0"/>
              <a:t>E-mail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D40B4B7F-FA24-4155-8088-CA67C471CF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9410178" y="2564904"/>
            <a:ext cx="2304000" cy="1871662"/>
          </a:xfrm>
        </p:spPr>
        <p:txBody>
          <a:bodyPr/>
          <a:lstStyle>
            <a:lvl1pPr>
              <a:spcBef>
                <a:spcPts val="200"/>
              </a:spcBef>
              <a:spcAft>
                <a:spcPts val="600"/>
              </a:spcAft>
              <a:defRPr/>
            </a:lvl1pPr>
            <a:lvl2pPr>
              <a:spcBef>
                <a:spcPts val="200"/>
              </a:spcBef>
              <a:spcAft>
                <a:spcPts val="0"/>
              </a:spcAft>
              <a:defRPr sz="1400"/>
            </a:lvl2pPr>
            <a:lvl3pPr marL="0" indent="0">
              <a:spcBef>
                <a:spcPts val="200"/>
              </a:spcBef>
              <a:spcAft>
                <a:spcPts val="0"/>
              </a:spcAft>
              <a:buNone/>
              <a:defRPr sz="1400"/>
            </a:lvl3pPr>
            <a:lvl4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4pPr>
            <a:lvl5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5pPr>
            <a:lvl6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6pPr>
            <a:lvl7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7pPr>
            <a:lvl8pPr marL="0" indent="0">
              <a:spcBef>
                <a:spcPts val="200"/>
              </a:spcBef>
              <a:spcAft>
                <a:spcPts val="0"/>
              </a:spcAft>
              <a:buFontTx/>
              <a:buNone/>
              <a:defRPr sz="1400"/>
            </a:lvl8pPr>
            <a:lvl9pPr marL="0" indent="0">
              <a:spcBef>
                <a:spcPts val="200"/>
              </a:spcBef>
              <a:buFontTx/>
              <a:buNone/>
              <a:defRPr sz="1400"/>
            </a:lvl9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  <a:p>
            <a:pPr lvl="1"/>
            <a:r>
              <a:rPr lang="en-GB" dirty="0"/>
              <a:t>Branch</a:t>
            </a:r>
          </a:p>
          <a:p>
            <a:pPr lvl="1"/>
            <a:endParaRPr lang="en-GB" dirty="0"/>
          </a:p>
          <a:p>
            <a:pPr lvl="1"/>
            <a:r>
              <a:rPr lang="en-GB" dirty="0"/>
              <a:t>Telephone</a:t>
            </a:r>
          </a:p>
          <a:p>
            <a:pPr lvl="1"/>
            <a:r>
              <a:rPr lang="en-GB" dirty="0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335365725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1071">
          <p15:clr>
            <a:srgbClr val="FBAE40"/>
          </p15:clr>
        </p15:guide>
        <p15:guide id="4" orient="horz" pos="3838">
          <p15:clr>
            <a:srgbClr val="FBAE40"/>
          </p15:clr>
        </p15:guide>
        <p15:guide id="5" pos="1799">
          <p15:clr>
            <a:srgbClr val="FBAE40"/>
          </p15:clr>
        </p15:guide>
        <p15:guide id="6" pos="2207">
          <p15:clr>
            <a:srgbClr val="FBAE40"/>
          </p15:clr>
        </p15:guide>
        <p15:guide id="7" pos="3659">
          <p15:clr>
            <a:srgbClr val="FBAE40"/>
          </p15:clr>
        </p15:guide>
        <p15:guide id="8" pos="4067">
          <p15:clr>
            <a:srgbClr val="FBAE40"/>
          </p15:clr>
        </p15:guide>
        <p15:guide id="9" pos="5518">
          <p15:clr>
            <a:srgbClr val="FBAE40"/>
          </p15:clr>
        </p15:guide>
        <p15:guide id="10" pos="592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Right | Picture | 3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: Shape 23">
            <a:extLst>
              <a:ext uri="{FF2B5EF4-FFF2-40B4-BE49-F238E27FC236}">
                <a16:creationId xmlns:a16="http://schemas.microsoft.com/office/drawing/2014/main" id="{2240A0EA-9681-4032-91F4-BB12E6BE1F7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550863 w 12191999"/>
              <a:gd name="connsiteY1" fmla="*/ 0 h 6858000"/>
              <a:gd name="connsiteX2" fmla="*/ 4151784 w 12191999"/>
              <a:gd name="connsiteY2" fmla="*/ 0 h 6858000"/>
              <a:gd name="connsiteX3" fmla="*/ 4330863 w 12191999"/>
              <a:gd name="connsiteY3" fmla="*/ 0 h 6858000"/>
              <a:gd name="connsiteX4" fmla="*/ 4547828 w 12191999"/>
              <a:gd name="connsiteY4" fmla="*/ 0 h 6858000"/>
              <a:gd name="connsiteX5" fmla="*/ 4655840 w 12191999"/>
              <a:gd name="connsiteY5" fmla="*/ 0 h 6858000"/>
              <a:gd name="connsiteX6" fmla="*/ 8112222 w 12191999"/>
              <a:gd name="connsiteY6" fmla="*/ 0 h 6858000"/>
              <a:gd name="connsiteX7" fmla="*/ 8112222 w 12191999"/>
              <a:gd name="connsiteY7" fmla="*/ 4545124 h 6858000"/>
              <a:gd name="connsiteX8" fmla="*/ 11712574 w 12191999"/>
              <a:gd name="connsiteY8" fmla="*/ 4545124 h 6858000"/>
              <a:gd name="connsiteX9" fmla="*/ 11712574 w 12191999"/>
              <a:gd name="connsiteY9" fmla="*/ 0 h 6858000"/>
              <a:gd name="connsiteX10" fmla="*/ 12191999 w 12191999"/>
              <a:gd name="connsiteY10" fmla="*/ 0 h 6858000"/>
              <a:gd name="connsiteX11" fmla="*/ 12191999 w 12191999"/>
              <a:gd name="connsiteY11" fmla="*/ 6858000 h 6858000"/>
              <a:gd name="connsiteX12" fmla="*/ 0 w 12191999"/>
              <a:gd name="connsiteY12" fmla="*/ 6858000 h 6858000"/>
              <a:gd name="connsiteX13" fmla="*/ 0 w 12191999"/>
              <a:gd name="connsiteY13" fmla="*/ 537321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550863" y="0"/>
                </a:lnTo>
                <a:lnTo>
                  <a:pt x="4151784" y="0"/>
                </a:lnTo>
                <a:lnTo>
                  <a:pt x="4330863" y="0"/>
                </a:lnTo>
                <a:lnTo>
                  <a:pt x="4547828" y="0"/>
                </a:lnTo>
                <a:lnTo>
                  <a:pt x="4655840" y="0"/>
                </a:lnTo>
                <a:lnTo>
                  <a:pt x="8112222" y="0"/>
                </a:lnTo>
                <a:lnTo>
                  <a:pt x="8112222" y="4545124"/>
                </a:lnTo>
                <a:lnTo>
                  <a:pt x="11712574" y="4545124"/>
                </a:lnTo>
                <a:lnTo>
                  <a:pt x="11712574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lnTo>
                  <a:pt x="0" y="5373216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72265" y="2492928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2224" y="4621998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7226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his is the 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472264" y="3834140"/>
            <a:ext cx="2757844" cy="342000"/>
          </a:xfrm>
          <a:prstGeom prst="rect">
            <a:avLst/>
          </a:prstGeom>
        </p:spPr>
      </p:pic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F34BD5DD-0628-4A37-A782-F971F15DECA1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BAC46D0C-8FE9-4625-A839-10E6D6C86706}"/>
              </a:ext>
            </a:extLst>
          </p:cNvPr>
          <p:cNvSpPr/>
          <p:nvPr/>
        </p:nvSpPr>
        <p:spPr bwMode="gray">
          <a:xfrm>
            <a:off x="12648523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7" name="Gerader Verbinder 12">
            <a:extLst>
              <a:ext uri="{FF2B5EF4-FFF2-40B4-BE49-F238E27FC236}">
                <a16:creationId xmlns:a16="http://schemas.microsoft.com/office/drawing/2014/main" id="{FDFE0449-24D6-458E-808D-262D8CAF49AB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9">
            <a:extLst>
              <a:ext uri="{FF2B5EF4-FFF2-40B4-BE49-F238E27FC236}">
                <a16:creationId xmlns:a16="http://schemas.microsoft.com/office/drawing/2014/main" id="{13EBD44B-451B-4372-95E9-FA8EA783702D}"/>
              </a:ext>
            </a:extLst>
          </p:cNvPr>
          <p:cNvSpPr/>
          <p:nvPr/>
        </p:nvSpPr>
        <p:spPr bwMode="gray">
          <a:xfrm>
            <a:off x="12648523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9" name="Gerader Verbinder 14">
            <a:extLst>
              <a:ext uri="{FF2B5EF4-FFF2-40B4-BE49-F238E27FC236}">
                <a16:creationId xmlns:a16="http://schemas.microsoft.com/office/drawing/2014/main" id="{2A8444DB-5352-4BD9-BE2F-D4B571E53916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18">
            <a:extLst>
              <a:ext uri="{FF2B5EF4-FFF2-40B4-BE49-F238E27FC236}">
                <a16:creationId xmlns:a16="http://schemas.microsoft.com/office/drawing/2014/main" id="{85669543-7B80-4184-8230-3611CD61BD6C}"/>
              </a:ext>
            </a:extLst>
          </p:cNvPr>
          <p:cNvSpPr/>
          <p:nvPr/>
        </p:nvSpPr>
        <p:spPr bwMode="gray">
          <a:xfrm>
            <a:off x="12648523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C2EF804B-FA8A-488F-AA56-B7A8AECC2F8D}"/>
              </a:ext>
            </a:extLst>
          </p:cNvPr>
          <p:cNvCxnSpPr>
            <a:cxnSpLocks/>
          </p:cNvCxnSpPr>
          <p:nvPr/>
        </p:nvCxnSpPr>
        <p:spPr bwMode="gray">
          <a:xfrm>
            <a:off x="12324692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CF06136C-5597-4C51-B57D-1A44626B8BAF}"/>
              </a:ext>
            </a:extLst>
          </p:cNvPr>
          <p:cNvSpPr/>
          <p:nvPr/>
        </p:nvSpPr>
        <p:spPr bwMode="gray">
          <a:xfrm>
            <a:off x="12648523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E7227D6-F278-4B7D-956D-5CC722B28456}"/>
              </a:ext>
            </a:extLst>
          </p:cNvPr>
          <p:cNvSpPr/>
          <p:nvPr/>
        </p:nvSpPr>
        <p:spPr bwMode="gray">
          <a:xfrm>
            <a:off x="12324692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55" name="Rechteck 20">
            <a:extLst>
              <a:ext uri="{FF2B5EF4-FFF2-40B4-BE49-F238E27FC236}">
                <a16:creationId xmlns:a16="http://schemas.microsoft.com/office/drawing/2014/main" id="{A394185C-D321-44A7-8DF9-D62F0232984B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419678508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4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Right | Picture | 2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3442D92-D3EF-46AE-9912-0649F186F50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335360 w 12191999"/>
              <a:gd name="connsiteY1" fmla="*/ 0 h 6858000"/>
              <a:gd name="connsiteX2" fmla="*/ 550863 w 12191999"/>
              <a:gd name="connsiteY2" fmla="*/ 0 h 6858000"/>
              <a:gd name="connsiteX3" fmla="*/ 4151784 w 12191999"/>
              <a:gd name="connsiteY3" fmla="*/ 0 h 6858000"/>
              <a:gd name="connsiteX4" fmla="*/ 4295800 w 12191999"/>
              <a:gd name="connsiteY4" fmla="*/ 0 h 6858000"/>
              <a:gd name="connsiteX5" fmla="*/ 4330863 w 12191999"/>
              <a:gd name="connsiteY5" fmla="*/ 0 h 6858000"/>
              <a:gd name="connsiteX6" fmla="*/ 4547828 w 12191999"/>
              <a:gd name="connsiteY6" fmla="*/ 0 h 6858000"/>
              <a:gd name="connsiteX7" fmla="*/ 8112222 w 12191999"/>
              <a:gd name="connsiteY7" fmla="*/ 0 h 6858000"/>
              <a:gd name="connsiteX8" fmla="*/ 8112222 w 12191999"/>
              <a:gd name="connsiteY8" fmla="*/ 4005064 h 6858000"/>
              <a:gd name="connsiteX9" fmla="*/ 11712574 w 12191999"/>
              <a:gd name="connsiteY9" fmla="*/ 4005064 h 6858000"/>
              <a:gd name="connsiteX10" fmla="*/ 11712574 w 12191999"/>
              <a:gd name="connsiteY10" fmla="*/ 0 h 6858000"/>
              <a:gd name="connsiteX11" fmla="*/ 12191999 w 12191999"/>
              <a:gd name="connsiteY11" fmla="*/ 0 h 6858000"/>
              <a:gd name="connsiteX12" fmla="*/ 12191999 w 12191999"/>
              <a:gd name="connsiteY12" fmla="*/ 6858000 h 6858000"/>
              <a:gd name="connsiteX13" fmla="*/ 0 w 12191999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335360" y="0"/>
                </a:lnTo>
                <a:lnTo>
                  <a:pt x="550863" y="0"/>
                </a:lnTo>
                <a:lnTo>
                  <a:pt x="4151784" y="0"/>
                </a:lnTo>
                <a:lnTo>
                  <a:pt x="4295800" y="0"/>
                </a:lnTo>
                <a:lnTo>
                  <a:pt x="4330863" y="0"/>
                </a:lnTo>
                <a:lnTo>
                  <a:pt x="4547828" y="0"/>
                </a:lnTo>
                <a:lnTo>
                  <a:pt x="8112222" y="0"/>
                </a:lnTo>
                <a:lnTo>
                  <a:pt x="8112222" y="4005064"/>
                </a:lnTo>
                <a:lnTo>
                  <a:pt x="11712574" y="4005064"/>
                </a:lnTo>
                <a:lnTo>
                  <a:pt x="11712574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72265" y="1916864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2224" y="408511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7226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itle of the presentation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472264" y="3294080"/>
            <a:ext cx="2757844" cy="342000"/>
          </a:xfrm>
          <a:prstGeom prst="rect">
            <a:avLst/>
          </a:prstGeom>
        </p:spPr>
      </p:pic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235F4D9E-126D-489E-8AC8-118EAF145812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E76493F2-24AC-4D93-B9B4-8A597BE4B9D7}"/>
              </a:ext>
            </a:extLst>
          </p:cNvPr>
          <p:cNvSpPr/>
          <p:nvPr/>
        </p:nvSpPr>
        <p:spPr bwMode="gray">
          <a:xfrm>
            <a:off x="12648523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7" name="Gerader Verbinder 12">
            <a:extLst>
              <a:ext uri="{FF2B5EF4-FFF2-40B4-BE49-F238E27FC236}">
                <a16:creationId xmlns:a16="http://schemas.microsoft.com/office/drawing/2014/main" id="{B069D321-B0F2-4ADC-AC86-476920783EA8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19">
            <a:extLst>
              <a:ext uri="{FF2B5EF4-FFF2-40B4-BE49-F238E27FC236}">
                <a16:creationId xmlns:a16="http://schemas.microsoft.com/office/drawing/2014/main" id="{9FCEEA83-16F7-4EB6-82CB-F33172F9E135}"/>
              </a:ext>
            </a:extLst>
          </p:cNvPr>
          <p:cNvSpPr/>
          <p:nvPr/>
        </p:nvSpPr>
        <p:spPr bwMode="gray">
          <a:xfrm>
            <a:off x="12648523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9" name="Gerader Verbinder 14">
            <a:extLst>
              <a:ext uri="{FF2B5EF4-FFF2-40B4-BE49-F238E27FC236}">
                <a16:creationId xmlns:a16="http://schemas.microsoft.com/office/drawing/2014/main" id="{5FEB54BB-53EC-429A-975C-549373B94D0F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hteck 18">
            <a:extLst>
              <a:ext uri="{FF2B5EF4-FFF2-40B4-BE49-F238E27FC236}">
                <a16:creationId xmlns:a16="http://schemas.microsoft.com/office/drawing/2014/main" id="{5E877814-18E9-4689-9555-230AFCA425F1}"/>
              </a:ext>
            </a:extLst>
          </p:cNvPr>
          <p:cNvSpPr/>
          <p:nvPr/>
        </p:nvSpPr>
        <p:spPr bwMode="gray">
          <a:xfrm>
            <a:off x="12648523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52" name="Gerader Verbinder 51">
            <a:extLst>
              <a:ext uri="{FF2B5EF4-FFF2-40B4-BE49-F238E27FC236}">
                <a16:creationId xmlns:a16="http://schemas.microsoft.com/office/drawing/2014/main" id="{0F2408DA-833E-4E45-B4A5-CE21DB5755B5}"/>
              </a:ext>
            </a:extLst>
          </p:cNvPr>
          <p:cNvCxnSpPr>
            <a:cxnSpLocks/>
          </p:cNvCxnSpPr>
          <p:nvPr/>
        </p:nvCxnSpPr>
        <p:spPr bwMode="gray">
          <a:xfrm>
            <a:off x="12324692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hteck 52">
            <a:extLst>
              <a:ext uri="{FF2B5EF4-FFF2-40B4-BE49-F238E27FC236}">
                <a16:creationId xmlns:a16="http://schemas.microsoft.com/office/drawing/2014/main" id="{EAFC713B-E1A9-4470-B16D-F7D0F81355C5}"/>
              </a:ext>
            </a:extLst>
          </p:cNvPr>
          <p:cNvSpPr/>
          <p:nvPr/>
        </p:nvSpPr>
        <p:spPr bwMode="gray">
          <a:xfrm>
            <a:off x="12648523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7E836B7F-DFE2-48BA-93FF-6382536E2128}"/>
              </a:ext>
            </a:extLst>
          </p:cNvPr>
          <p:cNvSpPr/>
          <p:nvPr/>
        </p:nvSpPr>
        <p:spPr bwMode="gray">
          <a:xfrm>
            <a:off x="12324692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55" name="Rechteck 20">
            <a:extLst>
              <a:ext uri="{FF2B5EF4-FFF2-40B4-BE49-F238E27FC236}">
                <a16:creationId xmlns:a16="http://schemas.microsoft.com/office/drawing/2014/main" id="{F2DEE883-BF02-465A-BFDB-68FC42F0A096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98808397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7378">
          <p15:clr>
            <a:srgbClr val="FBAE40"/>
          </p15:clr>
        </p15:guide>
        <p15:guide id="2" pos="347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Right | Picture |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ildplatzhalter 21">
            <a:extLst>
              <a:ext uri="{FF2B5EF4-FFF2-40B4-BE49-F238E27FC236}">
                <a16:creationId xmlns:a16="http://schemas.microsoft.com/office/drawing/2014/main" id="{C88848E1-450B-4298-9AFC-A297C0AECDD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335360 w 12191999"/>
              <a:gd name="connsiteY1" fmla="*/ 0 h 6858000"/>
              <a:gd name="connsiteX2" fmla="*/ 550863 w 12191999"/>
              <a:gd name="connsiteY2" fmla="*/ 0 h 6858000"/>
              <a:gd name="connsiteX3" fmla="*/ 4151784 w 12191999"/>
              <a:gd name="connsiteY3" fmla="*/ 0 h 6858000"/>
              <a:gd name="connsiteX4" fmla="*/ 4330863 w 12191999"/>
              <a:gd name="connsiteY4" fmla="*/ 0 h 6858000"/>
              <a:gd name="connsiteX5" fmla="*/ 4439816 w 12191999"/>
              <a:gd name="connsiteY5" fmla="*/ 0 h 6858000"/>
              <a:gd name="connsiteX6" fmla="*/ 4547828 w 12191999"/>
              <a:gd name="connsiteY6" fmla="*/ 0 h 6858000"/>
              <a:gd name="connsiteX7" fmla="*/ 8111703 w 12191999"/>
              <a:gd name="connsiteY7" fmla="*/ 0 h 6858000"/>
              <a:gd name="connsiteX8" fmla="*/ 8111703 w 12191999"/>
              <a:gd name="connsiteY8" fmla="*/ 3456000 h 6858000"/>
              <a:gd name="connsiteX9" fmla="*/ 11712624 w 12191999"/>
              <a:gd name="connsiteY9" fmla="*/ 3456000 h 6858000"/>
              <a:gd name="connsiteX10" fmla="*/ 11712624 w 12191999"/>
              <a:gd name="connsiteY10" fmla="*/ 0 h 6858000"/>
              <a:gd name="connsiteX11" fmla="*/ 12191999 w 12191999"/>
              <a:gd name="connsiteY11" fmla="*/ 0 h 6858000"/>
              <a:gd name="connsiteX12" fmla="*/ 12191999 w 12191999"/>
              <a:gd name="connsiteY12" fmla="*/ 6858000 h 6858000"/>
              <a:gd name="connsiteX13" fmla="*/ 0 w 12191999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335360" y="0"/>
                </a:lnTo>
                <a:lnTo>
                  <a:pt x="550863" y="0"/>
                </a:lnTo>
                <a:lnTo>
                  <a:pt x="4151784" y="0"/>
                </a:lnTo>
                <a:lnTo>
                  <a:pt x="4330863" y="0"/>
                </a:lnTo>
                <a:lnTo>
                  <a:pt x="4439816" y="0"/>
                </a:lnTo>
                <a:lnTo>
                  <a:pt x="4547828" y="0"/>
                </a:lnTo>
                <a:lnTo>
                  <a:pt x="8111703" y="0"/>
                </a:lnTo>
                <a:lnTo>
                  <a:pt x="8111703" y="3456000"/>
                </a:lnTo>
                <a:lnTo>
                  <a:pt x="11712624" y="3456000"/>
                </a:lnTo>
                <a:lnTo>
                  <a:pt x="11712624" y="0"/>
                </a:ln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Click icon to add a picture</a:t>
            </a:r>
          </a:p>
        </p:txBody>
      </p:sp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8471744" y="1340800"/>
            <a:ext cx="2844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111703" y="3548654"/>
            <a:ext cx="3600000" cy="433553"/>
          </a:xfrm>
          <a:solidFill>
            <a:schemeClr val="bg2"/>
          </a:solidFill>
        </p:spPr>
        <p:txBody>
          <a:bodyPr lIns="360000" tIns="108000" rIns="36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71744" y="548688"/>
            <a:ext cx="2844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One-line tit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8471743" y="2754020"/>
            <a:ext cx="2757844" cy="342000"/>
          </a:xfrm>
          <a:prstGeom prst="rect">
            <a:avLst/>
          </a:prstGeom>
        </p:spPr>
      </p:pic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A3943B4F-2B93-4CDB-A3AC-37872FCF597D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40B22129-5E3F-4587-B814-A00E0F459064}"/>
              </a:ext>
            </a:extLst>
          </p:cNvPr>
          <p:cNvSpPr/>
          <p:nvPr/>
        </p:nvSpPr>
        <p:spPr bwMode="gray">
          <a:xfrm>
            <a:off x="12648523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0" name="Gerader Verbinder 12">
            <a:extLst>
              <a:ext uri="{FF2B5EF4-FFF2-40B4-BE49-F238E27FC236}">
                <a16:creationId xmlns:a16="http://schemas.microsoft.com/office/drawing/2014/main" id="{A30C8BC9-5206-47FF-864B-05A01A1E09CD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19">
            <a:extLst>
              <a:ext uri="{FF2B5EF4-FFF2-40B4-BE49-F238E27FC236}">
                <a16:creationId xmlns:a16="http://schemas.microsoft.com/office/drawing/2014/main" id="{CD1E5D76-9B7F-4A3A-8645-E897846BCFC7}"/>
              </a:ext>
            </a:extLst>
          </p:cNvPr>
          <p:cNvSpPr/>
          <p:nvPr/>
        </p:nvSpPr>
        <p:spPr bwMode="gray">
          <a:xfrm>
            <a:off x="12648523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2" name="Gerader Verbinder 14">
            <a:extLst>
              <a:ext uri="{FF2B5EF4-FFF2-40B4-BE49-F238E27FC236}">
                <a16:creationId xmlns:a16="http://schemas.microsoft.com/office/drawing/2014/main" id="{233AB4A8-DFE8-4704-B449-DBC90FFEFC4C}"/>
              </a:ext>
            </a:extLst>
          </p:cNvPr>
          <p:cNvCxnSpPr>
            <a:cxnSpLocks/>
          </p:cNvCxnSpPr>
          <p:nvPr/>
        </p:nvCxnSpPr>
        <p:spPr bwMode="gray">
          <a:xfrm>
            <a:off x="12360692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18">
            <a:extLst>
              <a:ext uri="{FF2B5EF4-FFF2-40B4-BE49-F238E27FC236}">
                <a16:creationId xmlns:a16="http://schemas.microsoft.com/office/drawing/2014/main" id="{138AB292-2171-4F79-8535-B518F8B3B0B2}"/>
              </a:ext>
            </a:extLst>
          </p:cNvPr>
          <p:cNvSpPr/>
          <p:nvPr/>
        </p:nvSpPr>
        <p:spPr bwMode="gray">
          <a:xfrm>
            <a:off x="12648523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7AB4B421-B02F-40D8-8647-D3C04BC3F021}"/>
              </a:ext>
            </a:extLst>
          </p:cNvPr>
          <p:cNvCxnSpPr>
            <a:cxnSpLocks/>
          </p:cNvCxnSpPr>
          <p:nvPr/>
        </p:nvCxnSpPr>
        <p:spPr bwMode="gray">
          <a:xfrm>
            <a:off x="12324692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3DCFBF08-EC08-421F-8C9F-A362C25BC550}"/>
              </a:ext>
            </a:extLst>
          </p:cNvPr>
          <p:cNvSpPr/>
          <p:nvPr/>
        </p:nvSpPr>
        <p:spPr bwMode="gray">
          <a:xfrm>
            <a:off x="12648523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A8F19AE8-31C3-4CF7-9765-3906A43178FF}"/>
              </a:ext>
            </a:extLst>
          </p:cNvPr>
          <p:cNvSpPr/>
          <p:nvPr/>
        </p:nvSpPr>
        <p:spPr bwMode="gray">
          <a:xfrm>
            <a:off x="12324692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  <p:sp>
        <p:nvSpPr>
          <p:cNvPr id="47" name="Rechteck 20">
            <a:extLst>
              <a:ext uri="{FF2B5EF4-FFF2-40B4-BE49-F238E27FC236}">
                <a16:creationId xmlns:a16="http://schemas.microsoft.com/office/drawing/2014/main" id="{16ADD000-80B1-4BF2-AD83-91B0D313F393}"/>
              </a:ext>
            </a:extLst>
          </p:cNvPr>
          <p:cNvSpPr/>
          <p:nvPr/>
        </p:nvSpPr>
        <p:spPr bwMode="gray">
          <a:xfrm>
            <a:off x="12396700" y="3528392"/>
            <a:ext cx="1763992" cy="339299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spcAft>
                <a:spcPts val="600"/>
              </a:spcAft>
            </a:pPr>
            <a:r>
              <a:rPr lang="en-GB" sz="1200" b="0" dirty="0">
                <a:solidFill>
                  <a:schemeClr val="tx1"/>
                </a:solidFill>
                <a:latin typeface="+mj-lt"/>
              </a:rPr>
              <a:t>Following options to insert/replace an image: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Click the icon of the placeholder to add an image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Replace an existing image using the right mouse button. Press the "Reset" button on the home (start) tab to set the image to the original position</a:t>
            </a:r>
          </a:p>
          <a:p>
            <a:pPr marL="171450" indent="-171450">
              <a:buFont typeface="Liebherr Text Office" panose="020B0604030000000000" pitchFamily="34" charset="0"/>
              <a:buChar char="—"/>
            </a:pPr>
            <a:r>
              <a:rPr lang="en-GB" sz="1200" b="0" dirty="0">
                <a:solidFill>
                  <a:schemeClr val="tx1"/>
                </a:solidFill>
              </a:rPr>
              <a:t>Add an image into the placeholder via "Copy/Paste" and press the "Reset" button</a:t>
            </a:r>
          </a:p>
        </p:txBody>
      </p:sp>
    </p:spTree>
    <p:extLst>
      <p:ext uri="{BB962C8B-B14F-4D97-AF65-F5344CB8AC3E}">
        <p14:creationId xmlns:p14="http://schemas.microsoft.com/office/powerpoint/2010/main" val="306315415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838">
          <p15:clr>
            <a:srgbClr val="FBAE40"/>
          </p15:clr>
        </p15:guide>
        <p15:guide id="4" orient="horz" pos="34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eft | White | 4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Untertitel 2">
            <a:extLst>
              <a:ext uri="{FF2B5EF4-FFF2-40B4-BE49-F238E27FC236}">
                <a16:creationId xmlns:a16="http://schemas.microsoft.com/office/drawing/2014/main" id="{F2E55217-AB26-4BDF-B41C-61BDE2D0720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385" y="3068992"/>
            <a:ext cx="2808000" cy="72000"/>
          </a:xfrm>
          <a:solidFill>
            <a:schemeClr val="tx1"/>
          </a:solidFill>
        </p:spPr>
        <p:txBody>
          <a:bodyPr tIns="30600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/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9pPr>
          </a:lstStyle>
          <a:p>
            <a:pPr lvl="0"/>
            <a:r>
              <a:rPr lang="en-GB" dirty="0"/>
              <a:t>Subtitle of presentation</a:t>
            </a:r>
          </a:p>
          <a:p>
            <a:pPr lvl="1"/>
            <a:r>
              <a:rPr lang="en-GB" dirty="0"/>
              <a:t>Location, Date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sp>
        <p:nvSpPr>
          <p:cNvPr id="58" name="Textplatzhalter 48">
            <a:extLst>
              <a:ext uri="{FF2B5EF4-FFF2-40B4-BE49-F238E27FC236}">
                <a16:creationId xmlns:a16="http://schemas.microsoft.com/office/drawing/2014/main" id="{0845947D-41DE-4BD4-B14B-62A1083A53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51384" y="5171584"/>
            <a:ext cx="2880000" cy="433553"/>
          </a:xfrm>
          <a:solidFill>
            <a:schemeClr val="bg2"/>
          </a:solidFill>
        </p:spPr>
        <p:txBody>
          <a:bodyPr lIns="180000" tIns="108000" rIns="180000" bIns="108000" anchor="t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spc="0"/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400" b="0" spc="0">
                <a:solidFill>
                  <a:schemeClr val="tx1"/>
                </a:solidFill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7pPr>
            <a:lvl8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spc="0"/>
            </a:lvl9pPr>
          </a:lstStyle>
          <a:p>
            <a:pPr lvl="0"/>
            <a:r>
              <a:rPr lang="en-GB" dirty="0"/>
              <a:t>Liebherr International</a:t>
            </a:r>
          </a:p>
        </p:txBody>
      </p:sp>
      <p:sp>
        <p:nvSpPr>
          <p:cNvPr id="59" name="Titel 58">
            <a:extLst>
              <a:ext uri="{FF2B5EF4-FFF2-40B4-BE49-F238E27FC236}">
                <a16:creationId xmlns:a16="http://schemas.microsoft.com/office/drawing/2014/main" id="{D1E3A4FC-93E6-4F95-B61D-7F252607F2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51385" y="548688"/>
            <a:ext cx="2808000" cy="72000"/>
          </a:xfrm>
          <a:solidFill>
            <a:schemeClr val="tx1"/>
          </a:solidFill>
        </p:spPr>
        <p:txBody>
          <a:bodyPr tIns="162000"/>
          <a:lstStyle>
            <a:lvl1pPr>
              <a:lnSpc>
                <a:spcPct val="90000"/>
              </a:lnSpc>
              <a:defRPr sz="4200" spc="0" baseline="0"/>
            </a:lvl1pPr>
          </a:lstStyle>
          <a:p>
            <a:pPr lvl="0"/>
            <a:r>
              <a:rPr lang="en-GB" dirty="0"/>
              <a:t>This is the title of the presentation </a:t>
            </a:r>
            <a:br>
              <a:rPr lang="en-GB" dirty="0"/>
            </a:br>
            <a:r>
              <a:rPr lang="en-GB" dirty="0"/>
              <a:t>in Arial 42pt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7DC21FDD-52D0-4086-9C59-D2E0587A4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51384" y="4383208"/>
            <a:ext cx="2757844" cy="342000"/>
          </a:xfrm>
          <a:prstGeom prst="rect">
            <a:avLst/>
          </a:prstGeom>
        </p:spPr>
      </p:pic>
      <p:sp>
        <p:nvSpPr>
          <p:cNvPr id="20" name="Rechteck 1">
            <a:extLst>
              <a:ext uri="{FF2B5EF4-FFF2-40B4-BE49-F238E27FC236}">
                <a16:creationId xmlns:a16="http://schemas.microsoft.com/office/drawing/2014/main" id="{D7DE248F-2823-4B30-97A7-5E5A3E614553}"/>
              </a:ext>
            </a:extLst>
          </p:cNvPr>
          <p:cNvSpPr/>
          <p:nvPr/>
        </p:nvSpPr>
        <p:spPr bwMode="gray">
          <a:xfrm>
            <a:off x="10272464" y="6092825"/>
            <a:ext cx="1919536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9025D1DC-0638-4FC1-B62D-103D9E45918A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3068992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>
            <a:extLst>
              <a:ext uri="{FF2B5EF4-FFF2-40B4-BE49-F238E27FC236}">
                <a16:creationId xmlns:a16="http://schemas.microsoft.com/office/drawing/2014/main" id="{3D7E8613-14D0-43FA-B4A2-C12F97BF1900}"/>
              </a:ext>
            </a:extLst>
          </p:cNvPr>
          <p:cNvSpPr/>
          <p:nvPr/>
        </p:nvSpPr>
        <p:spPr bwMode="gray">
          <a:xfrm>
            <a:off x="-1932688" y="3068992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Four-line title (1.00)</a:t>
            </a:r>
          </a:p>
        </p:txBody>
      </p:sp>
      <p:cxnSp>
        <p:nvCxnSpPr>
          <p:cNvPr id="40" name="Gerader Verbinder 12">
            <a:extLst>
              <a:ext uri="{FF2B5EF4-FFF2-40B4-BE49-F238E27FC236}">
                <a16:creationId xmlns:a16="http://schemas.microsoft.com/office/drawing/2014/main" id="{6BB7661D-A83D-4CF3-BE9D-73ADB203DC2E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2492928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19">
            <a:extLst>
              <a:ext uri="{FF2B5EF4-FFF2-40B4-BE49-F238E27FC236}">
                <a16:creationId xmlns:a16="http://schemas.microsoft.com/office/drawing/2014/main" id="{C45AC564-649F-4FB3-A72B-CC01BB9063F8}"/>
              </a:ext>
            </a:extLst>
          </p:cNvPr>
          <p:cNvSpPr/>
          <p:nvPr/>
        </p:nvSpPr>
        <p:spPr bwMode="gray">
          <a:xfrm>
            <a:off x="-1932688" y="2492928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hree-line title (2.60)</a:t>
            </a:r>
          </a:p>
        </p:txBody>
      </p:sp>
      <p:cxnSp>
        <p:nvCxnSpPr>
          <p:cNvPr id="42" name="Gerader Verbinder 14">
            <a:extLst>
              <a:ext uri="{FF2B5EF4-FFF2-40B4-BE49-F238E27FC236}">
                <a16:creationId xmlns:a16="http://schemas.microsoft.com/office/drawing/2014/main" id="{5D41728E-8CF7-4DAC-B786-227EB1BAD583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916864"/>
            <a:ext cx="1800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18">
            <a:extLst>
              <a:ext uri="{FF2B5EF4-FFF2-40B4-BE49-F238E27FC236}">
                <a16:creationId xmlns:a16="http://schemas.microsoft.com/office/drawing/2014/main" id="{60783C2C-4B89-458A-A592-BBA39A059498}"/>
              </a:ext>
            </a:extLst>
          </p:cNvPr>
          <p:cNvSpPr/>
          <p:nvPr/>
        </p:nvSpPr>
        <p:spPr bwMode="gray">
          <a:xfrm>
            <a:off x="-1932688" y="1916864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Two-line title (4.20)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D5F8176-458E-4605-90AE-255473F5E976}"/>
              </a:ext>
            </a:extLst>
          </p:cNvPr>
          <p:cNvCxnSpPr>
            <a:cxnSpLocks/>
          </p:cNvCxnSpPr>
          <p:nvPr/>
        </p:nvCxnSpPr>
        <p:spPr bwMode="gray">
          <a:xfrm>
            <a:off x="-1932688" y="1340800"/>
            <a:ext cx="1836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id="{828E34CD-5263-4251-B0E0-445235533E90}"/>
              </a:ext>
            </a:extLst>
          </p:cNvPr>
          <p:cNvSpPr/>
          <p:nvPr/>
        </p:nvSpPr>
        <p:spPr bwMode="gray">
          <a:xfrm>
            <a:off x="-1932688" y="1340800"/>
            <a:ext cx="1512169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</a:rPr>
              <a:t>Single-line title (5.80)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022662C9-B00F-4400-828D-06F0654BBA0E}"/>
              </a:ext>
            </a:extLst>
          </p:cNvPr>
          <p:cNvSpPr/>
          <p:nvPr/>
        </p:nvSpPr>
        <p:spPr bwMode="gray">
          <a:xfrm>
            <a:off x="-1932688" y="1016732"/>
            <a:ext cx="1836000" cy="21602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/>
            <a:r>
              <a:rPr lang="en-GB" sz="1200" b="0" dirty="0">
                <a:solidFill>
                  <a:schemeClr val="tx1"/>
                </a:solidFill>
                <a:latin typeface="+mj-lt"/>
              </a:rPr>
              <a:t>Position of the lower bar: </a:t>
            </a:r>
          </a:p>
        </p:txBody>
      </p:sp>
    </p:spTree>
    <p:extLst>
      <p:ext uri="{BB962C8B-B14F-4D97-AF65-F5344CB8AC3E}">
        <p14:creationId xmlns:p14="http://schemas.microsoft.com/office/powerpoint/2010/main" val="334833517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46">
          <p15:clr>
            <a:srgbClr val="FBAE40"/>
          </p15:clr>
        </p15:guide>
        <p15:guide id="4" orient="horz" pos="383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F7BF7CA0-E960-4EB3-8210-8583F337BF60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96DAC541-7B7A-43D3-8B79-37D633B846F1}">
                <asvg:svgBlip xmlns:asvg="http://schemas.microsoft.com/office/drawing/2016/SVG/main" r:embed="rId55"/>
              </a:ext>
            </a:extLst>
          </a:blip>
          <a:stretch>
            <a:fillRect/>
          </a:stretch>
        </p:blipFill>
        <p:spPr bwMode="gray">
          <a:xfrm>
            <a:off x="10550803" y="6525000"/>
            <a:ext cx="1161197" cy="144000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2" y="620736"/>
            <a:ext cx="11161713" cy="43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Edit title master format by clicki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0863" y="1700213"/>
            <a:ext cx="11161712" cy="43930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Edit text by clicking. Use the "Increase/decrease list level" buttons on the Home tab to switch between the text levels you have set up.</a:t>
            </a:r>
          </a:p>
          <a:p>
            <a:pPr lvl="1"/>
            <a:r>
              <a:rPr lang="en-GB" dirty="0"/>
              <a:t>List Level 2</a:t>
            </a:r>
          </a:p>
          <a:p>
            <a:pPr lvl="2"/>
            <a:r>
              <a:rPr lang="en-GB" dirty="0"/>
              <a:t>List Level 3</a:t>
            </a:r>
          </a:p>
          <a:p>
            <a:pPr lvl="3"/>
            <a:r>
              <a:rPr lang="en-GB" dirty="0"/>
              <a:t>List Level 4</a:t>
            </a:r>
          </a:p>
          <a:p>
            <a:pPr lvl="4"/>
            <a:r>
              <a:rPr lang="en-GB" dirty="0"/>
              <a:t>List Level 5</a:t>
            </a:r>
          </a:p>
          <a:p>
            <a:pPr lvl="5"/>
            <a:r>
              <a:rPr lang="en-GB" dirty="0"/>
              <a:t>List Level 6</a:t>
            </a:r>
          </a:p>
          <a:p>
            <a:pPr lvl="6"/>
            <a:r>
              <a:rPr lang="en-GB" dirty="0"/>
              <a:t>List Level 7</a:t>
            </a:r>
          </a:p>
          <a:p>
            <a:pPr lvl="7"/>
            <a:r>
              <a:rPr lang="en-GB" dirty="0"/>
              <a:t>List Level 8</a:t>
            </a:r>
          </a:p>
          <a:p>
            <a:pPr lvl="8"/>
            <a:r>
              <a:rPr lang="en-GB" dirty="0"/>
              <a:t>List Level 9</a:t>
            </a:r>
          </a:p>
        </p:txBody>
      </p:sp>
      <p:grpSp>
        <p:nvGrpSpPr>
          <p:cNvPr id="21" name="Gruppieren 20"/>
          <p:cNvGrpSpPr/>
          <p:nvPr/>
        </p:nvGrpSpPr>
        <p:grpSpPr bwMode="gray">
          <a:xfrm>
            <a:off x="551384" y="-171400"/>
            <a:ext cx="11161240" cy="72000"/>
            <a:chOff x="551384" y="-243408"/>
            <a:chExt cx="11161240" cy="216000"/>
          </a:xfrm>
        </p:grpSpPr>
        <p:cxnSp>
          <p:nvCxnSpPr>
            <p:cNvPr id="13" name="Gerader Verbinder 12"/>
            <p:cNvCxnSpPr/>
            <p:nvPr userDrawn="1"/>
          </p:nvCxnSpPr>
          <p:spPr bwMode="gray">
            <a:xfrm>
              <a:off x="551384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 userDrawn="1"/>
          </p:nvCxnSpPr>
          <p:spPr bwMode="gray">
            <a:xfrm>
              <a:off x="11712624" y="-243408"/>
              <a:ext cx="0" cy="21600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/>
        </p:nvGrpSpPr>
        <p:grpSpPr bwMode="gray">
          <a:xfrm>
            <a:off x="-168688" y="1700808"/>
            <a:ext cx="72000" cy="4392488"/>
            <a:chOff x="-456728" y="1700808"/>
            <a:chExt cx="216000" cy="4392488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456728" y="1700808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456728" y="6093296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F25931F7-C9B2-4AEF-8949-B2C573475504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84352" y="6550324"/>
            <a:ext cx="792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C69BCB77-87D4-4FCC-8C03-8DDB7E4ABBF9}" type="datetimeFigureOut">
              <a:rPr lang="fr-FR" smtClean="0"/>
              <a:t>09/10/2024</a:t>
            </a:fld>
            <a:endParaRPr lang="fr-FR"/>
          </a:p>
        </p:txBody>
      </p:sp>
      <p:sp>
        <p:nvSpPr>
          <p:cNvPr id="29" name="Fußzeilenplatzhalter 4">
            <a:extLst>
              <a:ext uri="{FF2B5EF4-FFF2-40B4-BE49-F238E27FC236}">
                <a16:creationId xmlns:a16="http://schemas.microsoft.com/office/drawing/2014/main" id="{9D1E47E8-758C-4E0E-9F77-C5BF4B3F8E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884396" y="6550324"/>
            <a:ext cx="7704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fr-FR"/>
          </a:p>
        </p:txBody>
      </p:sp>
      <p:sp>
        <p:nvSpPr>
          <p:cNvPr id="30" name="Foliennummernplatzhalter 5">
            <a:extLst>
              <a:ext uri="{FF2B5EF4-FFF2-40B4-BE49-F238E27FC236}">
                <a16:creationId xmlns:a16="http://schemas.microsoft.com/office/drawing/2014/main" id="{BAF09DF7-FEB4-4BF3-8619-FCE74C4EA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1864" y="6550324"/>
            <a:ext cx="288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66D0708-5447-4076-826F-1DCA485C3D8E}" type="slidenum">
              <a:rPr lang="fr-FR" smtClean="0"/>
              <a:t>‹N°›</a:t>
            </a:fld>
            <a:endParaRPr lang="fr-FR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45A7FA6-661C-4F00-B171-7CC9C2CCE8DB}"/>
              </a:ext>
            </a:extLst>
          </p:cNvPr>
          <p:cNvCxnSpPr/>
          <p:nvPr/>
        </p:nvCxnSpPr>
        <p:spPr bwMode="gray">
          <a:xfrm>
            <a:off x="6455817" y="-171400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D614D05-FE86-44C3-B30B-4ED71C82B2D4}"/>
              </a:ext>
            </a:extLst>
          </p:cNvPr>
          <p:cNvCxnSpPr/>
          <p:nvPr/>
        </p:nvCxnSpPr>
        <p:spPr bwMode="gray">
          <a:xfrm>
            <a:off x="5807968" y="-171400"/>
            <a:ext cx="0" cy="7200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BDD2D862-F12D-4CEE-84FD-3A9AC4B6E5B6}"/>
              </a:ext>
            </a:extLst>
          </p:cNvPr>
          <p:cNvGrpSpPr/>
          <p:nvPr/>
        </p:nvGrpSpPr>
        <p:grpSpPr bwMode="gray">
          <a:xfrm>
            <a:off x="3863975" y="-171400"/>
            <a:ext cx="4536281" cy="72000"/>
            <a:chOff x="3863975" y="-171400"/>
            <a:chExt cx="4536281" cy="72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7BECE16-269D-4E9A-9B84-7F60B4AE0CB1}"/>
                </a:ext>
              </a:extLst>
            </p:cNvPr>
            <p:cNvCxnSpPr/>
            <p:nvPr userDrawn="1"/>
          </p:nvCxnSpPr>
          <p:spPr bwMode="gray">
            <a:xfrm>
              <a:off x="8400256" y="-171400"/>
              <a:ext cx="0" cy="7200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13FA7C3C-7FA6-4CDB-9805-4175F140B416}"/>
                </a:ext>
              </a:extLst>
            </p:cNvPr>
            <p:cNvCxnSpPr/>
            <p:nvPr userDrawn="1"/>
          </p:nvCxnSpPr>
          <p:spPr bwMode="gray">
            <a:xfrm>
              <a:off x="7752407" y="-171400"/>
              <a:ext cx="0" cy="7200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24105D3-4A85-43F3-BAE6-78D2008211EF}"/>
                </a:ext>
              </a:extLst>
            </p:cNvPr>
            <p:cNvCxnSpPr/>
            <p:nvPr userDrawn="1"/>
          </p:nvCxnSpPr>
          <p:spPr bwMode="gray">
            <a:xfrm>
              <a:off x="4511824" y="-171400"/>
              <a:ext cx="0" cy="7200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5C51D5BD-3B24-442C-9575-E3C237E12149}"/>
                </a:ext>
              </a:extLst>
            </p:cNvPr>
            <p:cNvCxnSpPr/>
            <p:nvPr userDrawn="1"/>
          </p:nvCxnSpPr>
          <p:spPr bwMode="gray">
            <a:xfrm>
              <a:off x="3863975" y="-171400"/>
              <a:ext cx="0" cy="72000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FD09599-A722-421B-B985-21F90F2F366E}"/>
              </a:ext>
            </a:extLst>
          </p:cNvPr>
          <p:cNvGrpSpPr/>
          <p:nvPr/>
        </p:nvGrpSpPr>
        <p:grpSpPr bwMode="gray">
          <a:xfrm>
            <a:off x="2855640" y="-171392"/>
            <a:ext cx="6552728" cy="72000"/>
            <a:chOff x="2855640" y="-171392"/>
            <a:chExt cx="6552728" cy="72000"/>
          </a:xfrm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FFF91E64-D9CA-4E5C-8F94-5DA5E114B04B}"/>
                </a:ext>
              </a:extLst>
            </p:cNvPr>
            <p:cNvCxnSpPr/>
            <p:nvPr userDrawn="1"/>
          </p:nvCxnSpPr>
          <p:spPr bwMode="gray">
            <a:xfrm>
              <a:off x="9408368" y="-171392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431206C0-5549-4016-B972-40D54A316047}"/>
                </a:ext>
              </a:extLst>
            </p:cNvPr>
            <p:cNvCxnSpPr/>
            <p:nvPr userDrawn="1"/>
          </p:nvCxnSpPr>
          <p:spPr bwMode="gray">
            <a:xfrm>
              <a:off x="8760519" y="-171392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5EB6A447-3F4D-44F0-A383-F28EB320251F}"/>
                </a:ext>
              </a:extLst>
            </p:cNvPr>
            <p:cNvCxnSpPr/>
            <p:nvPr userDrawn="1"/>
          </p:nvCxnSpPr>
          <p:spPr bwMode="gray">
            <a:xfrm>
              <a:off x="3503489" y="-171392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0A8EE856-A375-49AE-9A88-BFE45857E99C}"/>
                </a:ext>
              </a:extLst>
            </p:cNvPr>
            <p:cNvCxnSpPr/>
            <p:nvPr userDrawn="1"/>
          </p:nvCxnSpPr>
          <p:spPr bwMode="gray">
            <a:xfrm>
              <a:off x="2855640" y="-171392"/>
              <a:ext cx="0" cy="72000"/>
            </a:xfrm>
            <a:prstGeom prst="line">
              <a:avLst/>
            </a:prstGeom>
            <a:ln w="63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empower - DO NOT DELETE!!!" hidden="1"/>
          <p:cNvSpPr/>
          <p:nvPr>
            <p:custDataLst>
              <p:tags r:id="rId53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ctr">
              <a:lnSpc>
                <a:spcPct val="120000"/>
              </a:lnSpc>
            </a:pPr>
            <a:endParaRPr lang="en-GB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246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2400"/>
        </a:spcBef>
        <a:spcAft>
          <a:spcPts val="0"/>
        </a:spcAft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32000" indent="-216000" algn="l" defTabSz="914400" rtl="0" eaLnBrk="1" latinLnBrk="0" hangingPunct="1">
        <a:lnSpc>
          <a:spcPct val="120000"/>
        </a:lnSpc>
        <a:spcBef>
          <a:spcPts val="600"/>
        </a:spcBef>
        <a:spcAft>
          <a:spcPts val="0"/>
        </a:spcAft>
        <a:buFont typeface="Liebherr Text Office" panose="020B0604030000000000" pitchFamily="34" charset="0"/>
        <a:buChar char="—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4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E76A4C-6729-4C20-9FFD-A2513D6EE6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ossier de candidature typ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2E59090-D32E-489D-9294-09A4340DB01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50863" y="1700213"/>
            <a:ext cx="11161712" cy="4104239"/>
          </a:xfrm>
        </p:spPr>
        <p:txBody>
          <a:bodyPr/>
          <a:lstStyle/>
          <a:p>
            <a:r>
              <a:rPr lang="fr-FR" sz="2800" dirty="0"/>
              <a:t> 4 thématiques proposées dans le cadre de ces challenges : </a:t>
            </a:r>
          </a:p>
          <a:p>
            <a:r>
              <a:rPr lang="fr-FR" sz="18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hème 1 : </a:t>
            </a:r>
            <a:r>
              <a:rPr lang="fr-FR" sz="18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Modélisation et simulation de nos processus de production </a:t>
            </a:r>
          </a:p>
          <a:p>
            <a:pPr lvl="0"/>
            <a:r>
              <a:rPr lang="fr-FR" sz="18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Thème 2 : Optimisation du stockage logistique de l’atelier réparation</a:t>
            </a:r>
          </a:p>
          <a:p>
            <a:r>
              <a:rPr lang="fr-FR" sz="18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Thème 3 : Automatisation des tests sur une valise de maintenance sur avion</a:t>
            </a:r>
          </a:p>
          <a:p>
            <a:r>
              <a:rPr lang="fr-FR" sz="18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Thème 4 : Détection et prédiction de défaillances équipements</a:t>
            </a:r>
          </a:p>
          <a:p>
            <a:endParaRPr lang="fr-FR" dirty="0"/>
          </a:p>
          <a:p>
            <a:pPr algn="r"/>
            <a:r>
              <a:rPr lang="fr-FR" dirty="0"/>
              <a:t>Clôture des dépôts des dossiers de candidature : 06/01/2025</a:t>
            </a:r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5E4CB1CD-9680-4490-94DC-3A96A89BCB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Challenges Liebherr Aerospace Toulous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503E13E-A8EB-4A16-AB1C-5FA054B6795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64179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7"/>
          <p:cNvSpPr txBox="1">
            <a:spLocks/>
          </p:cNvSpPr>
          <p:nvPr/>
        </p:nvSpPr>
        <p:spPr bwMode="gray">
          <a:xfrm>
            <a:off x="550862" y="257178"/>
            <a:ext cx="8500005" cy="2066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Tx/>
              <a:buNone/>
              <a:defRPr lang="en-US" sz="1800" b="1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36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44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08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3">
                    <a:lumMod val="100000"/>
                  </a:schemeClr>
                </a:solidFill>
                <a:latin typeface="Liebherr Head Office" panose="020B0504030000000000" pitchFamily="34" charset="0"/>
              </a:rPr>
              <a:t>Fiche Projet : Informations générales</a:t>
            </a:r>
            <a:endParaRPr lang="en-GB" sz="2000" dirty="0">
              <a:solidFill>
                <a:schemeClr val="accent3">
                  <a:lumMod val="100000"/>
                </a:schemeClr>
              </a:solidFill>
              <a:latin typeface="Liebherr Head Office" panose="020B0504030000000000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 rot="16200000">
            <a:off x="-2335689" y="3567106"/>
            <a:ext cx="5278779" cy="368730"/>
          </a:xfrm>
          <a:prstGeom prst="rect">
            <a:avLst/>
          </a:prstGeom>
          <a:solidFill>
            <a:schemeClr val="tx2">
              <a:lumMod val="100000"/>
            </a:schemeClr>
          </a:solidFill>
          <a:ln w="28575">
            <a:solidFill>
              <a:schemeClr val="tx2">
                <a:lumMod val="100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latin typeface="Liebherr Head Office" panose="020B0504030000000000" pitchFamily="34" charset="0"/>
              </a:rPr>
              <a:t>Informations Générales</a:t>
            </a:r>
          </a:p>
        </p:txBody>
      </p:sp>
      <p:grpSp>
        <p:nvGrpSpPr>
          <p:cNvPr id="13" name="Groupe 12"/>
          <p:cNvGrpSpPr/>
          <p:nvPr/>
        </p:nvGrpSpPr>
        <p:grpSpPr>
          <a:xfrm>
            <a:off x="9118596" y="463873"/>
            <a:ext cx="2850092" cy="310884"/>
            <a:chOff x="9264352" y="620688"/>
            <a:chExt cx="2088232" cy="428134"/>
          </a:xfrm>
        </p:grpSpPr>
        <p:sp>
          <p:nvSpPr>
            <p:cNvPr id="14" name="Rectangle à coins arrondis 12">
              <a:extLst>
                <a:ext uri="{FF2B5EF4-FFF2-40B4-BE49-F238E27FC236}">
                  <a16:creationId xmlns:a16="http://schemas.microsoft.com/office/drawing/2014/main" id="{E400F34B-2845-480B-824A-DB2EB5443ACD}"/>
                </a:ext>
              </a:extLst>
            </p:cNvPr>
            <p:cNvSpPr/>
            <p:nvPr/>
          </p:nvSpPr>
          <p:spPr>
            <a:xfrm>
              <a:off x="9912424" y="620688"/>
              <a:ext cx="1440160" cy="428134"/>
            </a:xfrm>
            <a:prstGeom prst="roundRect">
              <a:avLst/>
            </a:prstGeom>
            <a:solidFill>
              <a:srgbClr val="8BB2C2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44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fr-FR" sz="11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5" name="Groupe 14"/>
            <p:cNvGrpSpPr/>
            <p:nvPr/>
          </p:nvGrpSpPr>
          <p:grpSpPr>
            <a:xfrm>
              <a:off x="9264352" y="620688"/>
              <a:ext cx="807378" cy="428134"/>
              <a:chOff x="9264352" y="620688"/>
              <a:chExt cx="807378" cy="428134"/>
            </a:xfrm>
          </p:grpSpPr>
          <p:sp>
            <p:nvSpPr>
              <p:cNvPr id="16" name="Pentagone 15"/>
              <p:cNvSpPr/>
              <p:nvPr/>
            </p:nvSpPr>
            <p:spPr>
              <a:xfrm>
                <a:off x="9855706" y="620688"/>
                <a:ext cx="216024" cy="428134"/>
              </a:xfrm>
              <a:prstGeom prst="homePlate">
                <a:avLst>
                  <a:gd name="adj" fmla="val 30819"/>
                </a:avLst>
              </a:prstGeom>
              <a:solidFill>
                <a:schemeClr val="tx2">
                  <a:lumMod val="100000"/>
                </a:schemeClr>
              </a:solidFill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GB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7" name="Rectangle à coins arrondis 12">
                <a:extLst>
                  <a:ext uri="{FF2B5EF4-FFF2-40B4-BE49-F238E27FC236}">
                    <a16:creationId xmlns:a16="http://schemas.microsoft.com/office/drawing/2014/main" id="{E400F34B-2845-480B-824A-DB2EB5443ACD}"/>
                  </a:ext>
                </a:extLst>
              </p:cNvPr>
              <p:cNvSpPr/>
              <p:nvPr/>
            </p:nvSpPr>
            <p:spPr>
              <a:xfrm>
                <a:off x="9264352" y="620688"/>
                <a:ext cx="748804" cy="428134"/>
              </a:xfrm>
              <a:prstGeom prst="roundRect">
                <a:avLst/>
              </a:prstGeom>
              <a:solidFill>
                <a:schemeClr val="tx2">
                  <a:lumMod val="100000"/>
                </a:schemeClr>
              </a:solidFill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fr-FR" sz="1600" dirty="0">
                    <a:solidFill>
                      <a:schemeClr val="lt1"/>
                    </a:solidFill>
                    <a:latin typeface="Liebherr Head Office" panose="020B0504030000000000" pitchFamily="34" charset="0"/>
                  </a:rPr>
                  <a:t>Porteur(s)</a:t>
                </a:r>
              </a:p>
            </p:txBody>
          </p:sp>
        </p:grpSp>
      </p:grpSp>
      <p:grpSp>
        <p:nvGrpSpPr>
          <p:cNvPr id="18" name="Groupe 17"/>
          <p:cNvGrpSpPr/>
          <p:nvPr/>
        </p:nvGrpSpPr>
        <p:grpSpPr>
          <a:xfrm>
            <a:off x="9111106" y="130329"/>
            <a:ext cx="2857582" cy="310884"/>
            <a:chOff x="9264352" y="620688"/>
            <a:chExt cx="2088232" cy="428134"/>
          </a:xfrm>
        </p:grpSpPr>
        <p:sp>
          <p:nvSpPr>
            <p:cNvPr id="19" name="Rectangle à coins arrondis 12">
              <a:extLst>
                <a:ext uri="{FF2B5EF4-FFF2-40B4-BE49-F238E27FC236}">
                  <a16:creationId xmlns:a16="http://schemas.microsoft.com/office/drawing/2014/main" id="{E400F34B-2845-480B-824A-DB2EB5443ACD}"/>
                </a:ext>
              </a:extLst>
            </p:cNvPr>
            <p:cNvSpPr/>
            <p:nvPr/>
          </p:nvSpPr>
          <p:spPr>
            <a:xfrm>
              <a:off x="9912424" y="620688"/>
              <a:ext cx="1440160" cy="428134"/>
            </a:xfrm>
            <a:prstGeom prst="roundRect">
              <a:avLst/>
            </a:prstGeom>
            <a:solidFill>
              <a:srgbClr val="8BB2C2"/>
            </a:solidFill>
            <a:ln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144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200" dirty="0">
                  <a:solidFill>
                    <a:schemeClr val="tx2">
                      <a:lumMod val="100000"/>
                    </a:schemeClr>
                  </a:solidFill>
                  <a:latin typeface="Liebherr Head Office" panose="020B0504030000000000" pitchFamily="34" charset="0"/>
                </a:rPr>
                <a:t>Thèmes 1/2/3/4</a:t>
              </a:r>
            </a:p>
          </p:txBody>
        </p:sp>
        <p:grpSp>
          <p:nvGrpSpPr>
            <p:cNvPr id="20" name="Groupe 19"/>
            <p:cNvGrpSpPr/>
            <p:nvPr/>
          </p:nvGrpSpPr>
          <p:grpSpPr>
            <a:xfrm>
              <a:off x="9264352" y="620688"/>
              <a:ext cx="807378" cy="428134"/>
              <a:chOff x="9264352" y="620688"/>
              <a:chExt cx="807378" cy="428134"/>
            </a:xfrm>
          </p:grpSpPr>
          <p:sp>
            <p:nvSpPr>
              <p:cNvPr id="21" name="Pentagone 20"/>
              <p:cNvSpPr/>
              <p:nvPr/>
            </p:nvSpPr>
            <p:spPr>
              <a:xfrm>
                <a:off x="9855706" y="620688"/>
                <a:ext cx="216024" cy="428134"/>
              </a:xfrm>
              <a:prstGeom prst="homePlate">
                <a:avLst>
                  <a:gd name="adj" fmla="val 30819"/>
                </a:avLst>
              </a:prstGeom>
              <a:solidFill>
                <a:schemeClr val="tx2">
                  <a:lumMod val="100000"/>
                </a:schemeClr>
              </a:solidFill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GB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" name="Rectangle à coins arrondis 12">
                <a:extLst>
                  <a:ext uri="{FF2B5EF4-FFF2-40B4-BE49-F238E27FC236}">
                    <a16:creationId xmlns:a16="http://schemas.microsoft.com/office/drawing/2014/main" id="{E400F34B-2845-480B-824A-DB2EB5443ACD}"/>
                  </a:ext>
                </a:extLst>
              </p:cNvPr>
              <p:cNvSpPr/>
              <p:nvPr/>
            </p:nvSpPr>
            <p:spPr>
              <a:xfrm>
                <a:off x="9264352" y="620688"/>
                <a:ext cx="748804" cy="428134"/>
              </a:xfrm>
              <a:prstGeom prst="roundRect">
                <a:avLst/>
              </a:prstGeom>
              <a:solidFill>
                <a:schemeClr val="tx2">
                  <a:lumMod val="100000"/>
                </a:schemeClr>
              </a:solidFill>
              <a:ln>
                <a:noFill/>
              </a:ln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fr-FR" sz="1200" dirty="0">
                    <a:solidFill>
                      <a:schemeClr val="lt1"/>
                    </a:solidFill>
                    <a:latin typeface="Liebherr Head Office" panose="020B0504030000000000" pitchFamily="34" charset="0"/>
                  </a:rPr>
                  <a:t>Thématiques</a:t>
                </a:r>
              </a:p>
            </p:txBody>
          </p:sp>
        </p:grpSp>
      </p:grpSp>
      <p:sp>
        <p:nvSpPr>
          <p:cNvPr id="29" name="Rectangle à coins arrondis 28"/>
          <p:cNvSpPr/>
          <p:nvPr/>
        </p:nvSpPr>
        <p:spPr>
          <a:xfrm>
            <a:off x="568010" y="1232814"/>
            <a:ext cx="2880000" cy="2408847"/>
          </a:xfrm>
          <a:prstGeom prst="roundRect">
            <a:avLst>
              <a:gd name="adj" fmla="val 8414"/>
            </a:avLst>
          </a:prstGeom>
          <a:ln>
            <a:solidFill>
              <a:schemeClr val="tx2">
                <a:lumMod val="10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1800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Définir l’objectif principal du votre solution en une phrase</a:t>
            </a:r>
          </a:p>
        </p:txBody>
      </p:sp>
      <p:grpSp>
        <p:nvGrpSpPr>
          <p:cNvPr id="30" name="Groupe 29"/>
          <p:cNvGrpSpPr/>
          <p:nvPr/>
        </p:nvGrpSpPr>
        <p:grpSpPr>
          <a:xfrm>
            <a:off x="711396" y="1097686"/>
            <a:ext cx="1176676" cy="266399"/>
            <a:chOff x="875448" y="1293860"/>
            <a:chExt cx="1176676" cy="266399"/>
          </a:xfrm>
        </p:grpSpPr>
        <p:sp>
          <p:nvSpPr>
            <p:cNvPr id="31" name="Rectangle à coins arrondis 30"/>
            <p:cNvSpPr/>
            <p:nvPr/>
          </p:nvSpPr>
          <p:spPr>
            <a:xfrm>
              <a:off x="972124" y="1308259"/>
              <a:ext cx="1080000" cy="252000"/>
            </a:xfrm>
            <a:prstGeom prst="roundRect">
              <a:avLst/>
            </a:prstGeom>
            <a:solidFill>
              <a:schemeClr val="tx2">
                <a:lumMod val="100000"/>
              </a:schemeClr>
            </a:solidFill>
            <a:ln>
              <a:solidFill>
                <a:schemeClr val="tx2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fr-FR" sz="1400" dirty="0">
                  <a:latin typeface="Liebherr Head Office" panose="020B0504030000000000" pitchFamily="34" charset="0"/>
                </a:rPr>
                <a:t>Objectif</a:t>
              </a:r>
              <a:endParaRPr lang="fr-FR" sz="1000" dirty="0">
                <a:latin typeface="Liebherr Head Office" panose="020B0504030000000000" pitchFamily="34" charset="0"/>
              </a:endParaRPr>
            </a:p>
          </p:txBody>
        </p:sp>
        <p:sp>
          <p:nvSpPr>
            <p:cNvPr id="32" name="Ellipse 31"/>
            <p:cNvSpPr/>
            <p:nvPr/>
          </p:nvSpPr>
          <p:spPr>
            <a:xfrm>
              <a:off x="875448" y="1308259"/>
              <a:ext cx="252000" cy="25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GB" sz="1800" b="0" i="0" u="none" baseline="0" dirty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33" name="Picture 3" descr="C:\Users\NG50BBA\Downloads\Icones\target (3)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8895" y="1293860"/>
              <a:ext cx="234429" cy="2344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7" name="Rectangle à coins arrondis 36"/>
          <p:cNvSpPr/>
          <p:nvPr/>
        </p:nvSpPr>
        <p:spPr>
          <a:xfrm>
            <a:off x="3555764" y="1232815"/>
            <a:ext cx="4514810" cy="2408846"/>
          </a:xfrm>
          <a:prstGeom prst="roundRect">
            <a:avLst>
              <a:gd name="adj" fmla="val 8414"/>
            </a:avLst>
          </a:prstGeom>
          <a:ln>
            <a:solidFill>
              <a:schemeClr val="tx2">
                <a:lumMod val="10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1800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Décrire le contexte et les problématiques dans lequel intervient l’idée</a:t>
            </a: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Thème(s) visé(s) du Challenge Liebherr Aerospace Toulouse : </a:t>
            </a: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hème 1 : </a:t>
            </a:r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Modélisation et simulation de nos processus de production </a:t>
            </a:r>
          </a:p>
          <a:p>
            <a:pPr lvl="0"/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Thème 2 : Optimisation du stockage logistique de l’atelier réparation</a:t>
            </a: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Thème 3 : Automatisation des tests sur une valise de maintenance sur avion</a:t>
            </a: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Thème 4 : Détection et prédiction de défaillances équipements</a:t>
            </a:r>
          </a:p>
          <a:p>
            <a:pPr lvl="0"/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</p:txBody>
      </p:sp>
      <p:grpSp>
        <p:nvGrpSpPr>
          <p:cNvPr id="38" name="Groupe 37"/>
          <p:cNvGrpSpPr/>
          <p:nvPr/>
        </p:nvGrpSpPr>
        <p:grpSpPr>
          <a:xfrm>
            <a:off x="3709177" y="1112085"/>
            <a:ext cx="3360062" cy="252000"/>
            <a:chOff x="3702557" y="1196755"/>
            <a:chExt cx="3215078" cy="252000"/>
          </a:xfrm>
        </p:grpSpPr>
        <p:sp>
          <p:nvSpPr>
            <p:cNvPr id="39" name="Rectangle à coins arrondis 38"/>
            <p:cNvSpPr/>
            <p:nvPr/>
          </p:nvSpPr>
          <p:spPr>
            <a:xfrm>
              <a:off x="3799233" y="1196755"/>
              <a:ext cx="3118402" cy="252000"/>
            </a:xfrm>
            <a:prstGeom prst="roundRect">
              <a:avLst/>
            </a:prstGeom>
            <a:solidFill>
              <a:schemeClr val="tx2">
                <a:lumMod val="100000"/>
              </a:schemeClr>
            </a:solidFill>
            <a:ln>
              <a:solidFill>
                <a:schemeClr val="tx2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fr-FR" sz="1400" dirty="0">
                  <a:latin typeface="Liebherr Head Office" panose="020B0504030000000000" pitchFamily="34" charset="0"/>
                </a:rPr>
                <a:t>Contexte – </a:t>
              </a:r>
              <a:r>
                <a:rPr lang="fr-FR" sz="1400" dirty="0" err="1">
                  <a:latin typeface="Liebherr Head Office" panose="020B0504030000000000" pitchFamily="34" charset="0"/>
                </a:rPr>
                <a:t>Témathique</a:t>
              </a:r>
              <a:r>
                <a:rPr lang="fr-FR" sz="1400" dirty="0">
                  <a:latin typeface="Liebherr Head Office" panose="020B0504030000000000" pitchFamily="34" charset="0"/>
                </a:rPr>
                <a:t>(s) visée(s)</a:t>
              </a:r>
            </a:p>
          </p:txBody>
        </p:sp>
        <p:sp>
          <p:nvSpPr>
            <p:cNvPr id="40" name="Ellipse 39"/>
            <p:cNvSpPr/>
            <p:nvPr/>
          </p:nvSpPr>
          <p:spPr>
            <a:xfrm>
              <a:off x="3702557" y="1196755"/>
              <a:ext cx="252000" cy="25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GB" sz="1800" b="0" i="0" u="none" baseline="0" dirty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1" name="Picture 6" descr="C:\Users\NG50BBA\Downloads\focus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4230" y="1248131"/>
              <a:ext cx="151200" cy="151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0" name="Rectangle à coins arrondis 59"/>
          <p:cNvSpPr/>
          <p:nvPr/>
        </p:nvSpPr>
        <p:spPr>
          <a:xfrm>
            <a:off x="568010" y="3846311"/>
            <a:ext cx="7502564" cy="2634002"/>
          </a:xfrm>
          <a:prstGeom prst="roundRect">
            <a:avLst>
              <a:gd name="adj" fmla="val 8414"/>
            </a:avLst>
          </a:prstGeom>
          <a:ln>
            <a:solidFill>
              <a:schemeClr val="tx2">
                <a:lumMod val="10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1800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Décrire brièvement le fonctionnement ainsi que la ou les valeurs ajoutées de l’idée</a:t>
            </a: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Décrire le cas d’usage</a:t>
            </a: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Décrire le caractère innovant de la solution (usage, technologie, méthode, outils,…)</a:t>
            </a:r>
          </a:p>
          <a:p>
            <a:endParaRPr lang="fr-FR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1" name="Groupe 60"/>
          <p:cNvGrpSpPr/>
          <p:nvPr/>
        </p:nvGrpSpPr>
        <p:grpSpPr>
          <a:xfrm>
            <a:off x="649758" y="3786810"/>
            <a:ext cx="3669534" cy="283106"/>
            <a:chOff x="666147" y="1489860"/>
            <a:chExt cx="3574251" cy="283106"/>
          </a:xfrm>
        </p:grpSpPr>
        <p:sp>
          <p:nvSpPr>
            <p:cNvPr id="62" name="Rectangle à coins arrondis 61"/>
            <p:cNvSpPr/>
            <p:nvPr/>
          </p:nvSpPr>
          <p:spPr>
            <a:xfrm>
              <a:off x="862058" y="1489860"/>
              <a:ext cx="3378340" cy="283106"/>
            </a:xfrm>
            <a:prstGeom prst="roundRect">
              <a:avLst/>
            </a:prstGeom>
            <a:solidFill>
              <a:schemeClr val="tx2">
                <a:lumMod val="100000"/>
              </a:schemeClr>
            </a:solidFill>
            <a:ln>
              <a:solidFill>
                <a:schemeClr val="tx2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fr-FR" sz="1400" dirty="0">
                  <a:latin typeface="Liebherr Head Office" panose="020B0504030000000000" pitchFamily="34" charset="0"/>
                </a:rPr>
                <a:t>Proposition de valeur / Caractère innovant</a:t>
              </a:r>
            </a:p>
          </p:txBody>
        </p:sp>
        <p:sp>
          <p:nvSpPr>
            <p:cNvPr id="63" name="Ellipse 62"/>
            <p:cNvSpPr/>
            <p:nvPr/>
          </p:nvSpPr>
          <p:spPr>
            <a:xfrm>
              <a:off x="666147" y="1497291"/>
              <a:ext cx="252000" cy="25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GB" sz="1800" b="0" i="0" u="none" baseline="0" dirty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64" name="Picture 10" descr="C:\Users\NG50BBA\Downloads\id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066" y="1530311"/>
              <a:ext cx="161501" cy="161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3" name="Titre 102"/>
          <p:cNvSpPr>
            <a:spLocks noGrp="1"/>
          </p:cNvSpPr>
          <p:nvPr>
            <p:ph type="title"/>
          </p:nvPr>
        </p:nvSpPr>
        <p:spPr>
          <a:xfrm>
            <a:off x="550862" y="620736"/>
            <a:ext cx="8547839" cy="432000"/>
          </a:xfrm>
        </p:spPr>
        <p:txBody>
          <a:bodyPr/>
          <a:lstStyle/>
          <a:p>
            <a:r>
              <a:rPr lang="fr-FR" dirty="0"/>
              <a:t>Nom du projet</a:t>
            </a:r>
          </a:p>
        </p:txBody>
      </p:sp>
      <p:sp>
        <p:nvSpPr>
          <p:cNvPr id="106" name="Espace réservé du pied de page 105"/>
          <p:cNvSpPr>
            <a:spLocks noGrp="1"/>
          </p:cNvSpPr>
          <p:nvPr>
            <p:ph type="ftr" sz="quarter" idx="20"/>
          </p:nvPr>
        </p:nvSpPr>
        <p:spPr>
          <a:xfrm>
            <a:off x="1884396" y="6550324"/>
            <a:ext cx="7704000" cy="144000"/>
          </a:xfrm>
        </p:spPr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108" name="Espace réservé du numéro de diapositive 107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94" name="Rectangle à coins arrondis 108">
            <a:extLst>
              <a:ext uri="{FF2B5EF4-FFF2-40B4-BE49-F238E27FC236}">
                <a16:creationId xmlns:a16="http://schemas.microsoft.com/office/drawing/2014/main" id="{0E377EFF-D665-4F03-83C9-99C479773F94}"/>
              </a:ext>
            </a:extLst>
          </p:cNvPr>
          <p:cNvSpPr/>
          <p:nvPr/>
        </p:nvSpPr>
        <p:spPr>
          <a:xfrm>
            <a:off x="8289705" y="1230831"/>
            <a:ext cx="3641337" cy="5243496"/>
          </a:xfrm>
          <a:prstGeom prst="roundRect">
            <a:avLst>
              <a:gd name="adj" fmla="val 8414"/>
            </a:avLst>
          </a:prstGeom>
          <a:ln>
            <a:solidFill>
              <a:schemeClr val="tx2">
                <a:lumMod val="10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1800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Décrivez une première version des coûts de votre projet </a:t>
            </a: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Somme des coûts HT</a:t>
            </a: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Temps humain</a:t>
            </a: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</p:txBody>
      </p:sp>
      <p:sp>
        <p:nvSpPr>
          <p:cNvPr id="95" name="Rectangle à coins arrondis 110">
            <a:extLst>
              <a:ext uri="{FF2B5EF4-FFF2-40B4-BE49-F238E27FC236}">
                <a16:creationId xmlns:a16="http://schemas.microsoft.com/office/drawing/2014/main" id="{60DCC748-CBE8-43FD-97E5-9EA14D380AAF}"/>
              </a:ext>
            </a:extLst>
          </p:cNvPr>
          <p:cNvSpPr/>
          <p:nvPr/>
        </p:nvSpPr>
        <p:spPr>
          <a:xfrm>
            <a:off x="8600368" y="1112081"/>
            <a:ext cx="2880235" cy="252000"/>
          </a:xfrm>
          <a:prstGeom prst="roundRect">
            <a:avLst/>
          </a:prstGeom>
          <a:solidFill>
            <a:schemeClr val="tx2">
              <a:lumMod val="100000"/>
            </a:schemeClr>
          </a:solidFill>
          <a:ln>
            <a:solidFill>
              <a:schemeClr val="tx2">
                <a:lumMod val="10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latin typeface="Liebherr Head Office" panose="020B0504030000000000" pitchFamily="34" charset="0"/>
              </a:rPr>
              <a:t>Coût Global</a:t>
            </a:r>
          </a:p>
        </p:txBody>
      </p:sp>
    </p:spTree>
    <p:extLst>
      <p:ext uri="{BB962C8B-B14F-4D97-AF65-F5344CB8AC3E}">
        <p14:creationId xmlns:p14="http://schemas.microsoft.com/office/powerpoint/2010/main" val="3090622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F73A9C-CAC8-438E-9A0B-A34FC4547CC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4CFBB9E-84D1-4796-BB27-C52CC903AE80}"/>
              </a:ext>
            </a:extLst>
          </p:cNvPr>
          <p:cNvSpPr/>
          <p:nvPr/>
        </p:nvSpPr>
        <p:spPr>
          <a:xfrm rot="16200000">
            <a:off x="-2432806" y="3604880"/>
            <a:ext cx="5467058" cy="362769"/>
          </a:xfrm>
          <a:prstGeom prst="rect">
            <a:avLst/>
          </a:prstGeom>
          <a:solidFill>
            <a:srgbClr val="FFD000"/>
          </a:solidFill>
          <a:ln w="28575">
            <a:solidFill>
              <a:srgbClr val="FFD000"/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b="1" dirty="0">
                <a:latin typeface="Liebherr Head Office" panose="020B0504030000000000" pitchFamily="34" charset="0"/>
              </a:rPr>
              <a:t>Expérimentation</a:t>
            </a:r>
          </a:p>
        </p:txBody>
      </p:sp>
      <p:sp>
        <p:nvSpPr>
          <p:cNvPr id="19" name="Rectangle à coins arrondis 53">
            <a:extLst>
              <a:ext uri="{FF2B5EF4-FFF2-40B4-BE49-F238E27FC236}">
                <a16:creationId xmlns:a16="http://schemas.microsoft.com/office/drawing/2014/main" id="{401F52D9-5425-4881-BFC0-4BF394C1FF11}"/>
              </a:ext>
            </a:extLst>
          </p:cNvPr>
          <p:cNvSpPr/>
          <p:nvPr/>
        </p:nvSpPr>
        <p:spPr>
          <a:xfrm>
            <a:off x="6838123" y="4204252"/>
            <a:ext cx="5234540" cy="2245427"/>
          </a:xfrm>
          <a:prstGeom prst="roundRect">
            <a:avLst>
              <a:gd name="adj" fmla="val 8414"/>
            </a:avLst>
          </a:prstGeom>
          <a:ln>
            <a:solidFill>
              <a:srgbClr val="FFD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144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Quels critères seront à valider lors de l’expérience ?</a:t>
            </a:r>
          </a:p>
          <a:p>
            <a:r>
              <a:rPr lang="fr-FR" sz="1000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-</a:t>
            </a:r>
          </a:p>
          <a:p>
            <a:r>
              <a:rPr lang="fr-FR" sz="1000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-</a:t>
            </a:r>
          </a:p>
          <a:p>
            <a:r>
              <a:rPr lang="fr-FR" sz="1000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-</a:t>
            </a:r>
          </a:p>
          <a:p>
            <a:r>
              <a:rPr lang="fr-FR" sz="1000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-</a:t>
            </a:r>
          </a:p>
          <a:p>
            <a:r>
              <a:rPr lang="fr-FR" sz="1000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-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endParaRPr lang="en-US" sz="800" dirty="0"/>
          </a:p>
        </p:txBody>
      </p:sp>
      <p:sp>
        <p:nvSpPr>
          <p:cNvPr id="21" name="Rectangle à coins arrondis 55">
            <a:extLst>
              <a:ext uri="{FF2B5EF4-FFF2-40B4-BE49-F238E27FC236}">
                <a16:creationId xmlns:a16="http://schemas.microsoft.com/office/drawing/2014/main" id="{490DA598-C2B3-494E-81C2-96DC4C0B7CD7}"/>
              </a:ext>
            </a:extLst>
          </p:cNvPr>
          <p:cNvSpPr/>
          <p:nvPr/>
        </p:nvSpPr>
        <p:spPr>
          <a:xfrm>
            <a:off x="7003406" y="4078252"/>
            <a:ext cx="1610934" cy="252000"/>
          </a:xfrm>
          <a:prstGeom prst="roundRect">
            <a:avLst/>
          </a:prstGeom>
          <a:solidFill>
            <a:srgbClr val="FFD000"/>
          </a:solidFill>
          <a:ln>
            <a:solidFill>
              <a:srgbClr val="FFD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latin typeface="Liebherr Head Office" panose="020B0504030000000000" pitchFamily="34" charset="0"/>
              </a:rPr>
              <a:t>Critères de succès</a:t>
            </a:r>
          </a:p>
        </p:txBody>
      </p:sp>
      <p:sp>
        <p:nvSpPr>
          <p:cNvPr id="27" name="Espace réservé de la date 106">
            <a:extLst>
              <a:ext uri="{FF2B5EF4-FFF2-40B4-BE49-F238E27FC236}">
                <a16:creationId xmlns:a16="http://schemas.microsoft.com/office/drawing/2014/main" id="{426A62ED-3B43-47BF-95BA-DCDBBE0DB7F4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984352" y="6541857"/>
            <a:ext cx="792000" cy="144000"/>
          </a:xfrm>
        </p:spPr>
        <p:txBody>
          <a:bodyPr/>
          <a:lstStyle/>
          <a:p>
            <a:fld id="{954D1906-ADF9-4689-926C-B2790E9A9D3F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29" name="Rectangle à coins arrondis 108">
            <a:extLst>
              <a:ext uri="{FF2B5EF4-FFF2-40B4-BE49-F238E27FC236}">
                <a16:creationId xmlns:a16="http://schemas.microsoft.com/office/drawing/2014/main" id="{5280B547-9AD8-4134-916F-8880C9423161}"/>
              </a:ext>
            </a:extLst>
          </p:cNvPr>
          <p:cNvSpPr/>
          <p:nvPr/>
        </p:nvSpPr>
        <p:spPr>
          <a:xfrm>
            <a:off x="708391" y="1164033"/>
            <a:ext cx="5940887" cy="5355761"/>
          </a:xfrm>
          <a:prstGeom prst="roundRect">
            <a:avLst>
              <a:gd name="adj" fmla="val 8414"/>
            </a:avLst>
          </a:prstGeom>
          <a:ln>
            <a:solidFill>
              <a:srgbClr val="FFD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180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Décrivez techniquement votre solution envisagée (innovation)</a:t>
            </a:r>
          </a:p>
        </p:txBody>
      </p:sp>
      <p:sp>
        <p:nvSpPr>
          <p:cNvPr id="31" name="Rectangle à coins arrondis 110">
            <a:extLst>
              <a:ext uri="{FF2B5EF4-FFF2-40B4-BE49-F238E27FC236}">
                <a16:creationId xmlns:a16="http://schemas.microsoft.com/office/drawing/2014/main" id="{A4A06FE1-835A-4E51-8F60-399D4C1A35DF}"/>
              </a:ext>
            </a:extLst>
          </p:cNvPr>
          <p:cNvSpPr/>
          <p:nvPr/>
        </p:nvSpPr>
        <p:spPr>
          <a:xfrm>
            <a:off x="1123210" y="1052735"/>
            <a:ext cx="3170495" cy="252000"/>
          </a:xfrm>
          <a:prstGeom prst="roundRect">
            <a:avLst/>
          </a:prstGeom>
          <a:solidFill>
            <a:srgbClr val="FFD000"/>
          </a:solidFill>
          <a:ln>
            <a:solidFill>
              <a:srgbClr val="FFD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latin typeface="Liebherr Head Office" panose="020B0504030000000000" pitchFamily="34" charset="0"/>
              </a:rPr>
              <a:t>Descriptif du projet du projet technique </a:t>
            </a:r>
          </a:p>
        </p:txBody>
      </p:sp>
      <p:sp>
        <p:nvSpPr>
          <p:cNvPr id="59" name="Titre 102">
            <a:extLst>
              <a:ext uri="{FF2B5EF4-FFF2-40B4-BE49-F238E27FC236}">
                <a16:creationId xmlns:a16="http://schemas.microsoft.com/office/drawing/2014/main" id="{74BB253B-308C-4FBA-ABF7-7B0A6F3136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52947"/>
            <a:ext cx="8547839" cy="432000"/>
          </a:xfrm>
        </p:spPr>
        <p:txBody>
          <a:bodyPr/>
          <a:lstStyle/>
          <a:p>
            <a:r>
              <a:rPr lang="fr-FR" dirty="0"/>
              <a:t>Nom du projet</a:t>
            </a:r>
          </a:p>
        </p:txBody>
      </p:sp>
      <p:sp>
        <p:nvSpPr>
          <p:cNvPr id="61" name="Espace réservé du texte 7">
            <a:extLst>
              <a:ext uri="{FF2B5EF4-FFF2-40B4-BE49-F238E27FC236}">
                <a16:creationId xmlns:a16="http://schemas.microsoft.com/office/drawing/2014/main" id="{0482FAE8-1285-42AE-A6CA-47E3F268BDD3}"/>
              </a:ext>
            </a:extLst>
          </p:cNvPr>
          <p:cNvSpPr txBox="1">
            <a:spLocks/>
          </p:cNvSpPr>
          <p:nvPr/>
        </p:nvSpPr>
        <p:spPr bwMode="gray">
          <a:xfrm>
            <a:off x="550862" y="257178"/>
            <a:ext cx="8500005" cy="2066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Tx/>
              <a:buNone/>
              <a:defRPr lang="en-US" sz="1800" b="1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36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44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08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3">
                    <a:lumMod val="100000"/>
                  </a:schemeClr>
                </a:solidFill>
                <a:latin typeface="Liebherr Head Office" panose="020B0504030000000000" pitchFamily="34" charset="0"/>
              </a:rPr>
              <a:t>Fiche Projet : Descriptif projet</a:t>
            </a:r>
            <a:endParaRPr lang="en-GB" sz="2000" dirty="0">
              <a:solidFill>
                <a:schemeClr val="accent3">
                  <a:lumMod val="100000"/>
                </a:schemeClr>
              </a:solidFill>
              <a:latin typeface="Liebherr Head Office" panose="020B0504030000000000" pitchFamily="34" charset="0"/>
            </a:endParaRPr>
          </a:p>
        </p:txBody>
      </p:sp>
      <p:sp>
        <p:nvSpPr>
          <p:cNvPr id="65" name="Rectangle à coins arrondis 8">
            <a:extLst>
              <a:ext uri="{FF2B5EF4-FFF2-40B4-BE49-F238E27FC236}">
                <a16:creationId xmlns:a16="http://schemas.microsoft.com/office/drawing/2014/main" id="{865C88C0-3031-468F-A56C-16CEC02DC910}"/>
              </a:ext>
            </a:extLst>
          </p:cNvPr>
          <p:cNvSpPr/>
          <p:nvPr/>
        </p:nvSpPr>
        <p:spPr>
          <a:xfrm>
            <a:off x="6838122" y="1164034"/>
            <a:ext cx="5234539" cy="2821558"/>
          </a:xfrm>
          <a:prstGeom prst="roundRect">
            <a:avLst>
              <a:gd name="adj" fmla="val 3898"/>
            </a:avLst>
          </a:prstGeom>
          <a:ln>
            <a:solidFill>
              <a:srgbClr val="FFD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180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Vous pouvez illustrer votre proposition par des schémas, illustrations, etc… </a:t>
            </a: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à coins arrondis 87">
            <a:extLst>
              <a:ext uri="{FF2B5EF4-FFF2-40B4-BE49-F238E27FC236}">
                <a16:creationId xmlns:a16="http://schemas.microsoft.com/office/drawing/2014/main" id="{91585465-3AEC-440E-9984-0CFFAE83C8B3}"/>
              </a:ext>
            </a:extLst>
          </p:cNvPr>
          <p:cNvSpPr/>
          <p:nvPr/>
        </p:nvSpPr>
        <p:spPr>
          <a:xfrm>
            <a:off x="2936231" y="5876025"/>
            <a:ext cx="3397434" cy="573654"/>
          </a:xfrm>
          <a:prstGeom prst="roundRect">
            <a:avLst>
              <a:gd name="adj" fmla="val 8414"/>
            </a:avLst>
          </a:prstGeom>
          <a:ln>
            <a:solidFill>
              <a:srgbClr val="FFD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144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Maturité de la solution (TRL associé) </a:t>
            </a:r>
          </a:p>
        </p:txBody>
      </p:sp>
      <p:sp>
        <p:nvSpPr>
          <p:cNvPr id="25" name="Rectangle à coins arrondis 88">
            <a:extLst>
              <a:ext uri="{FF2B5EF4-FFF2-40B4-BE49-F238E27FC236}">
                <a16:creationId xmlns:a16="http://schemas.microsoft.com/office/drawing/2014/main" id="{1D036185-8B5D-4E9B-9B7B-D35D76E0F35E}"/>
              </a:ext>
            </a:extLst>
          </p:cNvPr>
          <p:cNvSpPr/>
          <p:nvPr/>
        </p:nvSpPr>
        <p:spPr>
          <a:xfrm>
            <a:off x="3011557" y="5742031"/>
            <a:ext cx="1888434" cy="252000"/>
          </a:xfrm>
          <a:prstGeom prst="roundRect">
            <a:avLst/>
          </a:prstGeom>
          <a:solidFill>
            <a:srgbClr val="FFD000"/>
          </a:solidFill>
          <a:ln>
            <a:solidFill>
              <a:srgbClr val="FFD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latin typeface="Liebherr Head Office" panose="020B0504030000000000" pitchFamily="34" charset="0"/>
              </a:rPr>
              <a:t>Maturité / Expérience</a:t>
            </a:r>
          </a:p>
        </p:txBody>
      </p:sp>
      <p:sp>
        <p:nvSpPr>
          <p:cNvPr id="14" name="Rectangle à coins arrondis 110">
            <a:extLst>
              <a:ext uri="{FF2B5EF4-FFF2-40B4-BE49-F238E27FC236}">
                <a16:creationId xmlns:a16="http://schemas.microsoft.com/office/drawing/2014/main" id="{05F32BDE-36C1-45E9-BC56-DC7E69D0A02C}"/>
              </a:ext>
            </a:extLst>
          </p:cNvPr>
          <p:cNvSpPr/>
          <p:nvPr/>
        </p:nvSpPr>
        <p:spPr>
          <a:xfrm>
            <a:off x="7003406" y="1074021"/>
            <a:ext cx="2047461" cy="252000"/>
          </a:xfrm>
          <a:prstGeom prst="roundRect">
            <a:avLst/>
          </a:prstGeom>
          <a:solidFill>
            <a:srgbClr val="FFD000"/>
          </a:solidFill>
          <a:ln>
            <a:solidFill>
              <a:srgbClr val="FFD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400" dirty="0">
                <a:latin typeface="Liebherr Head Office" panose="020B0504030000000000" pitchFamily="34" charset="0"/>
              </a:rPr>
              <a:t>Illustration de l’idée</a:t>
            </a:r>
          </a:p>
        </p:txBody>
      </p:sp>
    </p:spTree>
    <p:extLst>
      <p:ext uri="{BB962C8B-B14F-4D97-AF65-F5344CB8AC3E}">
        <p14:creationId xmlns:p14="http://schemas.microsoft.com/office/powerpoint/2010/main" val="8952148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à coins arrondis 29"/>
          <p:cNvSpPr/>
          <p:nvPr/>
        </p:nvSpPr>
        <p:spPr>
          <a:xfrm>
            <a:off x="550862" y="1405009"/>
            <a:ext cx="5658629" cy="3568532"/>
          </a:xfrm>
          <a:prstGeom prst="roundRect">
            <a:avLst>
              <a:gd name="adj" fmla="val 2112"/>
            </a:avLst>
          </a:prstGeom>
          <a:ln>
            <a:solidFill>
              <a:srgbClr val="FFD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144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fr-FR" sz="1000" i="1" dirty="0">
              <a:solidFill>
                <a:schemeClr val="accent6">
                  <a:lumMod val="100000"/>
                </a:schemeClr>
              </a:solidFill>
            </a:endParaRP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</a:rPr>
              <a:t>Quelles sont les différentes étapes et éléments de validation ?</a:t>
            </a: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</a:rPr>
              <a:t>Quels sont les éventuels éléments à dé-risquer pour que l’idée fonctionne ?</a:t>
            </a: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</a:rPr>
              <a:t>Quelles sont les conditions d’expérimentation ?</a:t>
            </a: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</a:endParaRPr>
          </a:p>
        </p:txBody>
      </p:sp>
      <p:grpSp>
        <p:nvGrpSpPr>
          <p:cNvPr id="32" name="Groupe 31"/>
          <p:cNvGrpSpPr/>
          <p:nvPr/>
        </p:nvGrpSpPr>
        <p:grpSpPr>
          <a:xfrm>
            <a:off x="719353" y="1237446"/>
            <a:ext cx="4172025" cy="335125"/>
            <a:chOff x="4259147" y="4055169"/>
            <a:chExt cx="3685700" cy="261474"/>
          </a:xfrm>
          <a:solidFill>
            <a:srgbClr val="FFD000"/>
          </a:solidFill>
        </p:grpSpPr>
        <p:sp>
          <p:nvSpPr>
            <p:cNvPr id="34" name="Rectangle à coins arrondis 33"/>
            <p:cNvSpPr/>
            <p:nvPr/>
          </p:nvSpPr>
          <p:spPr>
            <a:xfrm>
              <a:off x="4382547" y="4055171"/>
              <a:ext cx="3562300" cy="261472"/>
            </a:xfrm>
            <a:prstGeom prst="roundRect">
              <a:avLst/>
            </a:prstGeom>
            <a:grpFill/>
            <a:ln>
              <a:solidFill>
                <a:srgbClr val="FFD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fr-FR" sz="1400" dirty="0">
                  <a:latin typeface="Liebherr Head Office" panose="020B0504030000000000" pitchFamily="34" charset="0"/>
                </a:rPr>
                <a:t>EXPERIENCE</a:t>
              </a:r>
            </a:p>
          </p:txBody>
        </p:sp>
        <p:sp>
          <p:nvSpPr>
            <p:cNvPr id="35" name="Ellipse 34"/>
            <p:cNvSpPr/>
            <p:nvPr/>
          </p:nvSpPr>
          <p:spPr>
            <a:xfrm>
              <a:off x="4259147" y="4055169"/>
              <a:ext cx="284883" cy="252000"/>
            </a:xfrm>
            <a:prstGeom prst="ellipse">
              <a:avLst/>
            </a:prstGeom>
            <a:solidFill>
              <a:schemeClr val="lt1"/>
            </a:solidFill>
            <a:ln>
              <a:solidFill>
                <a:srgbClr val="FFD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GB" sz="1800" b="0" i="0" u="none" baseline="0" dirty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4" name="Titre 23"/>
          <p:cNvSpPr>
            <a:spLocks noGrp="1"/>
          </p:cNvSpPr>
          <p:nvPr>
            <p:ph type="title"/>
          </p:nvPr>
        </p:nvSpPr>
        <p:spPr>
          <a:xfrm>
            <a:off x="550862" y="745423"/>
            <a:ext cx="4861219" cy="432000"/>
          </a:xfrm>
        </p:spPr>
        <p:txBody>
          <a:bodyPr/>
          <a:lstStyle/>
          <a:p>
            <a:r>
              <a:rPr lang="fr-FR" dirty="0"/>
              <a:t>Expérimentation</a:t>
            </a:r>
          </a:p>
        </p:txBody>
      </p:sp>
      <p:sp>
        <p:nvSpPr>
          <p:cNvPr id="27" name="Espace réservé du pied de page 2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28" name="Espace réservé de la date 27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54D1906-ADF9-4689-926C-B2790E9A9D3F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37" name="Rectangle à coins arrondis 36"/>
          <p:cNvSpPr/>
          <p:nvPr/>
        </p:nvSpPr>
        <p:spPr>
          <a:xfrm>
            <a:off x="6354593" y="1396936"/>
            <a:ext cx="5448819" cy="2587095"/>
          </a:xfrm>
          <a:prstGeom prst="roundRect">
            <a:avLst>
              <a:gd name="adj" fmla="val 3064"/>
            </a:avLst>
          </a:prstGeom>
          <a:ln>
            <a:solidFill>
              <a:srgbClr val="FFD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144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fr-FR" sz="1000" i="1" dirty="0">
              <a:solidFill>
                <a:schemeClr val="accent6">
                  <a:lumMod val="100000"/>
                </a:schemeClr>
              </a:solidFill>
            </a:endParaRP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</a:rPr>
              <a:t>Description du prototype à réaliser, que doit-il démontrer ? Comment est-il réalisé ? </a:t>
            </a:r>
          </a:p>
        </p:txBody>
      </p:sp>
      <p:grpSp>
        <p:nvGrpSpPr>
          <p:cNvPr id="3" name="Groupe 2">
            <a:extLst>
              <a:ext uri="{FF2B5EF4-FFF2-40B4-BE49-F238E27FC236}">
                <a16:creationId xmlns:a16="http://schemas.microsoft.com/office/drawing/2014/main" id="{9DB47FA7-A124-4DC0-8099-41272CE7836C}"/>
              </a:ext>
            </a:extLst>
          </p:cNvPr>
          <p:cNvGrpSpPr/>
          <p:nvPr/>
        </p:nvGrpSpPr>
        <p:grpSpPr>
          <a:xfrm>
            <a:off x="791339" y="1291510"/>
            <a:ext cx="179450" cy="207483"/>
            <a:chOff x="1081147" y="1259460"/>
            <a:chExt cx="179450" cy="207483"/>
          </a:xfrm>
        </p:grpSpPr>
        <p:sp>
          <p:nvSpPr>
            <p:cNvPr id="38" name="Google Shape;7903;p80"/>
            <p:cNvSpPr/>
            <p:nvPr/>
          </p:nvSpPr>
          <p:spPr>
            <a:xfrm>
              <a:off x="1081147" y="1405009"/>
              <a:ext cx="179450" cy="61934"/>
            </a:xfrm>
            <a:custGeom>
              <a:avLst/>
              <a:gdLst/>
              <a:ahLst/>
              <a:cxnLst/>
              <a:rect l="l" t="t" r="r" b="b"/>
              <a:pathLst>
                <a:path w="16669" h="5753" extrusionOk="0">
                  <a:moveTo>
                    <a:pt x="2313" y="1"/>
                  </a:moveTo>
                  <a:lnTo>
                    <a:pt x="260" y="3590"/>
                  </a:lnTo>
                  <a:cubicBezTo>
                    <a:pt x="1" y="4039"/>
                    <a:pt x="1" y="4590"/>
                    <a:pt x="266" y="5036"/>
                  </a:cubicBezTo>
                  <a:cubicBezTo>
                    <a:pt x="517" y="5479"/>
                    <a:pt x="986" y="5752"/>
                    <a:pt x="1495" y="5752"/>
                  </a:cubicBezTo>
                  <a:cubicBezTo>
                    <a:pt x="1498" y="5752"/>
                    <a:pt x="1501" y="5752"/>
                    <a:pt x="1503" y="5752"/>
                  </a:cubicBezTo>
                  <a:lnTo>
                    <a:pt x="15165" y="5752"/>
                  </a:lnTo>
                  <a:cubicBezTo>
                    <a:pt x="15168" y="5752"/>
                    <a:pt x="15171" y="5752"/>
                    <a:pt x="15174" y="5752"/>
                  </a:cubicBezTo>
                  <a:cubicBezTo>
                    <a:pt x="15682" y="5752"/>
                    <a:pt x="16151" y="5479"/>
                    <a:pt x="16403" y="5036"/>
                  </a:cubicBezTo>
                  <a:cubicBezTo>
                    <a:pt x="16668" y="4590"/>
                    <a:pt x="16668" y="4039"/>
                    <a:pt x="16409" y="3590"/>
                  </a:cubicBezTo>
                  <a:lnTo>
                    <a:pt x="14358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  <p:sp>
          <p:nvSpPr>
            <p:cNvPr id="40" name="Google Shape;7904;p80"/>
            <p:cNvSpPr/>
            <p:nvPr/>
          </p:nvSpPr>
          <p:spPr>
            <a:xfrm>
              <a:off x="1112981" y="1259460"/>
              <a:ext cx="115772" cy="133406"/>
            </a:xfrm>
            <a:custGeom>
              <a:avLst/>
              <a:gdLst/>
              <a:ahLst/>
              <a:cxnLst/>
              <a:rect l="l" t="t" r="r" b="b"/>
              <a:pathLst>
                <a:path w="10754" h="12392" extrusionOk="0">
                  <a:moveTo>
                    <a:pt x="5379" y="8113"/>
                  </a:moveTo>
                  <a:cubicBezTo>
                    <a:pt x="5882" y="8113"/>
                    <a:pt x="6132" y="8721"/>
                    <a:pt x="5776" y="9076"/>
                  </a:cubicBezTo>
                  <a:cubicBezTo>
                    <a:pt x="5661" y="9192"/>
                    <a:pt x="5519" y="9244"/>
                    <a:pt x="5380" y="9244"/>
                  </a:cubicBezTo>
                  <a:cubicBezTo>
                    <a:pt x="5091" y="9244"/>
                    <a:pt x="4813" y="9019"/>
                    <a:pt x="4813" y="8679"/>
                  </a:cubicBezTo>
                  <a:cubicBezTo>
                    <a:pt x="4813" y="8366"/>
                    <a:pt x="5066" y="8113"/>
                    <a:pt x="5379" y="8113"/>
                  </a:cubicBezTo>
                  <a:close/>
                  <a:moveTo>
                    <a:pt x="4280" y="9989"/>
                  </a:moveTo>
                  <a:cubicBezTo>
                    <a:pt x="4783" y="9989"/>
                    <a:pt x="5036" y="10597"/>
                    <a:pt x="4680" y="10952"/>
                  </a:cubicBezTo>
                  <a:cubicBezTo>
                    <a:pt x="4566" y="11067"/>
                    <a:pt x="4425" y="11118"/>
                    <a:pt x="4286" y="11118"/>
                  </a:cubicBezTo>
                  <a:cubicBezTo>
                    <a:pt x="3996" y="11118"/>
                    <a:pt x="3717" y="10892"/>
                    <a:pt x="3717" y="10552"/>
                  </a:cubicBezTo>
                  <a:cubicBezTo>
                    <a:pt x="3717" y="10242"/>
                    <a:pt x="3970" y="9989"/>
                    <a:pt x="4280" y="9989"/>
                  </a:cubicBezTo>
                  <a:close/>
                  <a:moveTo>
                    <a:pt x="6475" y="9989"/>
                  </a:moveTo>
                  <a:cubicBezTo>
                    <a:pt x="6978" y="9989"/>
                    <a:pt x="7231" y="10597"/>
                    <a:pt x="6875" y="10952"/>
                  </a:cubicBezTo>
                  <a:cubicBezTo>
                    <a:pt x="6761" y="11067"/>
                    <a:pt x="6620" y="11118"/>
                    <a:pt x="6481" y="11118"/>
                  </a:cubicBezTo>
                  <a:cubicBezTo>
                    <a:pt x="6191" y="11118"/>
                    <a:pt x="5912" y="10892"/>
                    <a:pt x="5912" y="10552"/>
                  </a:cubicBezTo>
                  <a:cubicBezTo>
                    <a:pt x="5912" y="10242"/>
                    <a:pt x="6162" y="9989"/>
                    <a:pt x="6475" y="9989"/>
                  </a:cubicBezTo>
                  <a:close/>
                  <a:moveTo>
                    <a:pt x="1744" y="0"/>
                  </a:moveTo>
                  <a:cubicBezTo>
                    <a:pt x="1434" y="0"/>
                    <a:pt x="1181" y="253"/>
                    <a:pt x="1181" y="566"/>
                  </a:cubicBezTo>
                  <a:cubicBezTo>
                    <a:pt x="1181" y="877"/>
                    <a:pt x="1434" y="1130"/>
                    <a:pt x="1744" y="1130"/>
                  </a:cubicBezTo>
                  <a:lnTo>
                    <a:pt x="2259" y="1130"/>
                  </a:lnTo>
                  <a:lnTo>
                    <a:pt x="2259" y="8444"/>
                  </a:lnTo>
                  <a:lnTo>
                    <a:pt x="1" y="12392"/>
                  </a:lnTo>
                  <a:lnTo>
                    <a:pt x="10754" y="12392"/>
                  </a:lnTo>
                  <a:lnTo>
                    <a:pt x="8496" y="8444"/>
                  </a:lnTo>
                  <a:lnTo>
                    <a:pt x="8496" y="1130"/>
                  </a:lnTo>
                  <a:lnTo>
                    <a:pt x="9010" y="1130"/>
                  </a:lnTo>
                  <a:cubicBezTo>
                    <a:pt x="9321" y="1130"/>
                    <a:pt x="9574" y="877"/>
                    <a:pt x="9574" y="566"/>
                  </a:cubicBezTo>
                  <a:cubicBezTo>
                    <a:pt x="9574" y="253"/>
                    <a:pt x="9321" y="0"/>
                    <a:pt x="9010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rgbClr val="435D74"/>
                </a:solidFill>
              </a:endParaRPr>
            </a:p>
          </p:txBody>
        </p:sp>
      </p:grpSp>
      <p:grpSp>
        <p:nvGrpSpPr>
          <p:cNvPr id="4" name="Groupe 3">
            <a:extLst>
              <a:ext uri="{FF2B5EF4-FFF2-40B4-BE49-F238E27FC236}">
                <a16:creationId xmlns:a16="http://schemas.microsoft.com/office/drawing/2014/main" id="{13E6554E-825F-4F4F-A277-43398EF5E1E3}"/>
              </a:ext>
            </a:extLst>
          </p:cNvPr>
          <p:cNvGrpSpPr/>
          <p:nvPr/>
        </p:nvGrpSpPr>
        <p:grpSpPr>
          <a:xfrm>
            <a:off x="6533833" y="1245521"/>
            <a:ext cx="1659901" cy="268358"/>
            <a:chOff x="6831225" y="1216886"/>
            <a:chExt cx="1659901" cy="268358"/>
          </a:xfrm>
        </p:grpSpPr>
        <p:grpSp>
          <p:nvGrpSpPr>
            <p:cNvPr id="39" name="Groupe 38"/>
            <p:cNvGrpSpPr/>
            <p:nvPr/>
          </p:nvGrpSpPr>
          <p:grpSpPr>
            <a:xfrm>
              <a:off x="6831225" y="1231091"/>
              <a:ext cx="1659901" cy="254153"/>
              <a:chOff x="4259147" y="4055171"/>
              <a:chExt cx="1466410" cy="252000"/>
            </a:xfrm>
            <a:solidFill>
              <a:srgbClr val="FFD000"/>
            </a:solidFill>
          </p:grpSpPr>
          <p:sp>
            <p:nvSpPr>
              <p:cNvPr id="41" name="Rectangle à coins arrondis 40"/>
              <p:cNvSpPr/>
              <p:nvPr/>
            </p:nvSpPr>
            <p:spPr>
              <a:xfrm>
                <a:off x="4355822" y="4055171"/>
                <a:ext cx="1369735" cy="252000"/>
              </a:xfrm>
              <a:prstGeom prst="roundRect">
                <a:avLst/>
              </a:prstGeom>
              <a:grpFill/>
              <a:ln>
                <a:solidFill>
                  <a:srgbClr val="FFD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fr-FR" sz="1400" dirty="0">
                    <a:latin typeface="Liebherr Head Office" panose="020B0504030000000000" pitchFamily="34" charset="0"/>
                  </a:rPr>
                  <a:t>PROTOTYPE</a:t>
                </a:r>
              </a:p>
            </p:txBody>
          </p:sp>
          <p:sp>
            <p:nvSpPr>
              <p:cNvPr id="42" name="Ellipse 41"/>
              <p:cNvSpPr/>
              <p:nvPr/>
            </p:nvSpPr>
            <p:spPr>
              <a:xfrm>
                <a:off x="4259147" y="4055171"/>
                <a:ext cx="289487" cy="252000"/>
              </a:xfrm>
              <a:prstGeom prst="ellipse">
                <a:avLst/>
              </a:prstGeom>
              <a:solidFill>
                <a:schemeClr val="lt1"/>
              </a:solidFill>
              <a:ln>
                <a:solidFill>
                  <a:srgbClr val="FFD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indent="0" algn="ctr" rtl="0" eaLnBrk="0" fontAlgn="base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GB" sz="1800" b="0" i="0" u="none" baseline="0" dirty="0">
                  <a:solidFill>
                    <a:srgbClr val="3A3838"/>
                  </a:solidFill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43" name="Google Shape;8869;p82"/>
            <p:cNvGrpSpPr/>
            <p:nvPr/>
          </p:nvGrpSpPr>
          <p:grpSpPr>
            <a:xfrm>
              <a:off x="6845098" y="1216886"/>
              <a:ext cx="264584" cy="259725"/>
              <a:chOff x="5716825" y="3235950"/>
              <a:chExt cx="300900" cy="295375"/>
            </a:xfrm>
          </p:grpSpPr>
          <p:sp>
            <p:nvSpPr>
              <p:cNvPr id="44" name="Google Shape;8870;p82"/>
              <p:cNvSpPr/>
              <p:nvPr/>
            </p:nvSpPr>
            <p:spPr>
              <a:xfrm>
                <a:off x="5716825" y="3309975"/>
                <a:ext cx="137075" cy="146525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5861" extrusionOk="0">
                    <a:moveTo>
                      <a:pt x="2584" y="1"/>
                    </a:moveTo>
                    <a:lnTo>
                      <a:pt x="410" y="2206"/>
                    </a:lnTo>
                    <a:cubicBezTo>
                      <a:pt x="1" y="2615"/>
                      <a:pt x="1" y="3277"/>
                      <a:pt x="410" y="3655"/>
                    </a:cubicBezTo>
                    <a:lnTo>
                      <a:pt x="2584" y="5860"/>
                    </a:lnTo>
                    <a:lnTo>
                      <a:pt x="3781" y="4632"/>
                    </a:lnTo>
                    <a:cubicBezTo>
                      <a:pt x="3844" y="4584"/>
                      <a:pt x="3939" y="4561"/>
                      <a:pt x="4029" y="4561"/>
                    </a:cubicBezTo>
                    <a:cubicBezTo>
                      <a:pt x="4120" y="4561"/>
                      <a:pt x="4206" y="4584"/>
                      <a:pt x="4254" y="4632"/>
                    </a:cubicBezTo>
                    <a:lnTo>
                      <a:pt x="4726" y="5104"/>
                    </a:lnTo>
                    <a:cubicBezTo>
                      <a:pt x="4789" y="5167"/>
                      <a:pt x="4884" y="5199"/>
                      <a:pt x="4974" y="5199"/>
                    </a:cubicBezTo>
                    <a:cubicBezTo>
                      <a:pt x="5065" y="5199"/>
                      <a:pt x="5152" y="5167"/>
                      <a:pt x="5199" y="5104"/>
                    </a:cubicBezTo>
                    <a:cubicBezTo>
                      <a:pt x="5325" y="5010"/>
                      <a:pt x="5325" y="4758"/>
                      <a:pt x="5199" y="4632"/>
                    </a:cubicBezTo>
                    <a:lnTo>
                      <a:pt x="4726" y="4159"/>
                    </a:lnTo>
                    <a:cubicBezTo>
                      <a:pt x="4632" y="4065"/>
                      <a:pt x="4632" y="3813"/>
                      <a:pt x="4726" y="3687"/>
                    </a:cubicBezTo>
                    <a:lnTo>
                      <a:pt x="5482" y="2962"/>
                    </a:lnTo>
                    <a:lnTo>
                      <a:pt x="5010" y="2489"/>
                    </a:lnTo>
                    <a:lnTo>
                      <a:pt x="4789" y="2710"/>
                    </a:lnTo>
                    <a:cubicBezTo>
                      <a:pt x="4584" y="2915"/>
                      <a:pt x="4317" y="3017"/>
                      <a:pt x="4049" y="3017"/>
                    </a:cubicBezTo>
                    <a:cubicBezTo>
                      <a:pt x="3781" y="3017"/>
                      <a:pt x="3513" y="2915"/>
                      <a:pt x="3309" y="2710"/>
                    </a:cubicBezTo>
                    <a:cubicBezTo>
                      <a:pt x="2930" y="2332"/>
                      <a:pt x="2930" y="1670"/>
                      <a:pt x="3309" y="1261"/>
                    </a:cubicBezTo>
                    <a:lnTo>
                      <a:pt x="3561" y="1040"/>
                    </a:lnTo>
                    <a:lnTo>
                      <a:pt x="2584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8871;p82"/>
              <p:cNvSpPr/>
              <p:nvPr/>
            </p:nvSpPr>
            <p:spPr>
              <a:xfrm>
                <a:off x="5794025" y="3235950"/>
                <a:ext cx="145725" cy="133900"/>
              </a:xfrm>
              <a:custGeom>
                <a:avLst/>
                <a:gdLst/>
                <a:ahLst/>
                <a:cxnLst/>
                <a:rect l="l" t="t" r="r" b="b"/>
                <a:pathLst>
                  <a:path w="5829" h="5356" extrusionOk="0">
                    <a:moveTo>
                      <a:pt x="2926" y="0"/>
                    </a:moveTo>
                    <a:cubicBezTo>
                      <a:pt x="2662" y="0"/>
                      <a:pt x="2394" y="95"/>
                      <a:pt x="2205" y="284"/>
                    </a:cubicBezTo>
                    <a:lnTo>
                      <a:pt x="0" y="2457"/>
                    </a:lnTo>
                    <a:lnTo>
                      <a:pt x="1229" y="3686"/>
                    </a:lnTo>
                    <a:cubicBezTo>
                      <a:pt x="1323" y="3781"/>
                      <a:pt x="1323" y="4033"/>
                      <a:pt x="1229" y="4127"/>
                    </a:cubicBezTo>
                    <a:lnTo>
                      <a:pt x="725" y="4600"/>
                    </a:lnTo>
                    <a:cubicBezTo>
                      <a:pt x="630" y="4726"/>
                      <a:pt x="630" y="4978"/>
                      <a:pt x="725" y="5072"/>
                    </a:cubicBezTo>
                    <a:cubicBezTo>
                      <a:pt x="788" y="5135"/>
                      <a:pt x="882" y="5167"/>
                      <a:pt x="977" y="5167"/>
                    </a:cubicBezTo>
                    <a:cubicBezTo>
                      <a:pt x="1071" y="5167"/>
                      <a:pt x="1166" y="5135"/>
                      <a:pt x="1229" y="5072"/>
                    </a:cubicBezTo>
                    <a:lnTo>
                      <a:pt x="1701" y="4600"/>
                    </a:lnTo>
                    <a:cubicBezTo>
                      <a:pt x="1749" y="4553"/>
                      <a:pt x="1835" y="4529"/>
                      <a:pt x="1926" y="4529"/>
                    </a:cubicBezTo>
                    <a:cubicBezTo>
                      <a:pt x="2016" y="4529"/>
                      <a:pt x="2111" y="4553"/>
                      <a:pt x="2174" y="4600"/>
                    </a:cubicBezTo>
                    <a:lnTo>
                      <a:pt x="2898" y="5356"/>
                    </a:lnTo>
                    <a:lnTo>
                      <a:pt x="3371" y="4883"/>
                    </a:lnTo>
                    <a:lnTo>
                      <a:pt x="3151" y="4663"/>
                    </a:lnTo>
                    <a:cubicBezTo>
                      <a:pt x="2741" y="4253"/>
                      <a:pt x="2741" y="3592"/>
                      <a:pt x="3151" y="3214"/>
                    </a:cubicBezTo>
                    <a:cubicBezTo>
                      <a:pt x="3340" y="3009"/>
                      <a:pt x="3607" y="2906"/>
                      <a:pt x="3875" y="2906"/>
                    </a:cubicBezTo>
                    <a:cubicBezTo>
                      <a:pt x="4143" y="2906"/>
                      <a:pt x="4411" y="3009"/>
                      <a:pt x="4600" y="3214"/>
                    </a:cubicBezTo>
                    <a:lnTo>
                      <a:pt x="4852" y="3434"/>
                    </a:lnTo>
                    <a:lnTo>
                      <a:pt x="5828" y="2457"/>
                    </a:lnTo>
                    <a:lnTo>
                      <a:pt x="3623" y="284"/>
                    </a:lnTo>
                    <a:cubicBezTo>
                      <a:pt x="3450" y="95"/>
                      <a:pt x="3190" y="0"/>
                      <a:pt x="2926" y="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8872;p82"/>
              <p:cNvSpPr/>
              <p:nvPr/>
            </p:nvSpPr>
            <p:spPr>
              <a:xfrm>
                <a:off x="5880650" y="3309975"/>
                <a:ext cx="137075" cy="145725"/>
              </a:xfrm>
              <a:custGeom>
                <a:avLst/>
                <a:gdLst/>
                <a:ahLst/>
                <a:cxnLst/>
                <a:rect l="l" t="t" r="r" b="b"/>
                <a:pathLst>
                  <a:path w="5483" h="5829" extrusionOk="0">
                    <a:moveTo>
                      <a:pt x="2899" y="1"/>
                    </a:moveTo>
                    <a:lnTo>
                      <a:pt x="1702" y="1229"/>
                    </a:lnTo>
                    <a:cubicBezTo>
                      <a:pt x="1639" y="1292"/>
                      <a:pt x="1544" y="1324"/>
                      <a:pt x="1450" y="1324"/>
                    </a:cubicBezTo>
                    <a:cubicBezTo>
                      <a:pt x="1355" y="1324"/>
                      <a:pt x="1261" y="1292"/>
                      <a:pt x="1198" y="1229"/>
                    </a:cubicBezTo>
                    <a:lnTo>
                      <a:pt x="725" y="757"/>
                    </a:lnTo>
                    <a:cubicBezTo>
                      <a:pt x="678" y="694"/>
                      <a:pt x="591" y="662"/>
                      <a:pt x="501" y="662"/>
                    </a:cubicBezTo>
                    <a:cubicBezTo>
                      <a:pt x="410" y="662"/>
                      <a:pt x="316" y="694"/>
                      <a:pt x="253" y="757"/>
                    </a:cubicBezTo>
                    <a:cubicBezTo>
                      <a:pt x="158" y="883"/>
                      <a:pt x="158" y="1103"/>
                      <a:pt x="253" y="1229"/>
                    </a:cubicBezTo>
                    <a:lnTo>
                      <a:pt x="725" y="1702"/>
                    </a:lnTo>
                    <a:cubicBezTo>
                      <a:pt x="851" y="1828"/>
                      <a:pt x="851" y="2048"/>
                      <a:pt x="725" y="2174"/>
                    </a:cubicBezTo>
                    <a:lnTo>
                      <a:pt x="1" y="2899"/>
                    </a:lnTo>
                    <a:lnTo>
                      <a:pt x="473" y="3372"/>
                    </a:lnTo>
                    <a:lnTo>
                      <a:pt x="694" y="3151"/>
                    </a:lnTo>
                    <a:cubicBezTo>
                      <a:pt x="898" y="2946"/>
                      <a:pt x="1166" y="2844"/>
                      <a:pt x="1434" y="2844"/>
                    </a:cubicBezTo>
                    <a:cubicBezTo>
                      <a:pt x="1702" y="2844"/>
                      <a:pt x="1970" y="2946"/>
                      <a:pt x="2174" y="3151"/>
                    </a:cubicBezTo>
                    <a:cubicBezTo>
                      <a:pt x="2552" y="3529"/>
                      <a:pt x="2552" y="4222"/>
                      <a:pt x="2174" y="4600"/>
                    </a:cubicBezTo>
                    <a:lnTo>
                      <a:pt x="1922" y="4852"/>
                    </a:lnTo>
                    <a:lnTo>
                      <a:pt x="2899" y="5829"/>
                    </a:lnTo>
                    <a:lnTo>
                      <a:pt x="5073" y="3655"/>
                    </a:lnTo>
                    <a:cubicBezTo>
                      <a:pt x="5482" y="3277"/>
                      <a:pt x="5482" y="2615"/>
                      <a:pt x="5073" y="2206"/>
                    </a:cubicBezTo>
                    <a:lnTo>
                      <a:pt x="2899" y="1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" name="Google Shape;8873;p82"/>
              <p:cNvSpPr/>
              <p:nvPr/>
            </p:nvSpPr>
            <p:spPr>
              <a:xfrm>
                <a:off x="5794025" y="3396625"/>
                <a:ext cx="147300" cy="134700"/>
              </a:xfrm>
              <a:custGeom>
                <a:avLst/>
                <a:gdLst/>
                <a:ahLst/>
                <a:cxnLst/>
                <a:rect l="l" t="t" r="r" b="b"/>
                <a:pathLst>
                  <a:path w="5892" h="5388" extrusionOk="0">
                    <a:moveTo>
                      <a:pt x="2993" y="0"/>
                    </a:moveTo>
                    <a:lnTo>
                      <a:pt x="2520" y="473"/>
                    </a:lnTo>
                    <a:lnTo>
                      <a:pt x="2741" y="725"/>
                    </a:lnTo>
                    <a:cubicBezTo>
                      <a:pt x="3151" y="1103"/>
                      <a:pt x="3151" y="1764"/>
                      <a:pt x="2741" y="2174"/>
                    </a:cubicBezTo>
                    <a:cubicBezTo>
                      <a:pt x="2505" y="2363"/>
                      <a:pt x="2221" y="2457"/>
                      <a:pt x="1949" y="2457"/>
                    </a:cubicBezTo>
                    <a:cubicBezTo>
                      <a:pt x="1678" y="2457"/>
                      <a:pt x="1418" y="2363"/>
                      <a:pt x="1229" y="2174"/>
                    </a:cubicBezTo>
                    <a:lnTo>
                      <a:pt x="977" y="1922"/>
                    </a:lnTo>
                    <a:lnTo>
                      <a:pt x="0" y="2930"/>
                    </a:lnTo>
                    <a:lnTo>
                      <a:pt x="2205" y="5072"/>
                    </a:lnTo>
                    <a:cubicBezTo>
                      <a:pt x="2394" y="5293"/>
                      <a:pt x="2678" y="5387"/>
                      <a:pt x="2930" y="5387"/>
                    </a:cubicBezTo>
                    <a:cubicBezTo>
                      <a:pt x="3214" y="5387"/>
                      <a:pt x="3497" y="5293"/>
                      <a:pt x="3686" y="5072"/>
                    </a:cubicBezTo>
                    <a:lnTo>
                      <a:pt x="5891" y="2930"/>
                    </a:lnTo>
                    <a:lnTo>
                      <a:pt x="4663" y="1701"/>
                    </a:lnTo>
                    <a:cubicBezTo>
                      <a:pt x="4568" y="1575"/>
                      <a:pt x="4568" y="1355"/>
                      <a:pt x="4663" y="1229"/>
                    </a:cubicBezTo>
                    <a:lnTo>
                      <a:pt x="5167" y="756"/>
                    </a:lnTo>
                    <a:cubicBezTo>
                      <a:pt x="5261" y="630"/>
                      <a:pt x="5261" y="410"/>
                      <a:pt x="5167" y="284"/>
                    </a:cubicBezTo>
                    <a:cubicBezTo>
                      <a:pt x="5104" y="221"/>
                      <a:pt x="5009" y="189"/>
                      <a:pt x="4915" y="189"/>
                    </a:cubicBezTo>
                    <a:cubicBezTo>
                      <a:pt x="4820" y="189"/>
                      <a:pt x="4726" y="221"/>
                      <a:pt x="4663" y="284"/>
                    </a:cubicBezTo>
                    <a:lnTo>
                      <a:pt x="4190" y="756"/>
                    </a:lnTo>
                    <a:cubicBezTo>
                      <a:pt x="4143" y="819"/>
                      <a:pt x="4056" y="851"/>
                      <a:pt x="3966" y="851"/>
                    </a:cubicBezTo>
                    <a:cubicBezTo>
                      <a:pt x="3875" y="851"/>
                      <a:pt x="3781" y="819"/>
                      <a:pt x="3718" y="756"/>
                    </a:cubicBezTo>
                    <a:lnTo>
                      <a:pt x="2993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85" name="Rectangle à coins arrondis 65">
            <a:extLst>
              <a:ext uri="{FF2B5EF4-FFF2-40B4-BE49-F238E27FC236}">
                <a16:creationId xmlns:a16="http://schemas.microsoft.com/office/drawing/2014/main" id="{C3C3FFEE-BCCB-44B7-9DB7-46BE676E2223}"/>
              </a:ext>
            </a:extLst>
          </p:cNvPr>
          <p:cNvSpPr/>
          <p:nvPr/>
        </p:nvSpPr>
        <p:spPr>
          <a:xfrm>
            <a:off x="5143500" y="163676"/>
            <a:ext cx="6659913" cy="1002361"/>
          </a:xfrm>
          <a:prstGeom prst="roundRect">
            <a:avLst>
              <a:gd name="adj" fmla="val 8414"/>
            </a:avLst>
          </a:prstGeom>
          <a:ln>
            <a:solidFill>
              <a:srgbClr val="FFD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180000" rIns="9144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fr-FR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6" name="Groupe 85">
            <a:extLst>
              <a:ext uri="{FF2B5EF4-FFF2-40B4-BE49-F238E27FC236}">
                <a16:creationId xmlns:a16="http://schemas.microsoft.com/office/drawing/2014/main" id="{AD0B1944-04E9-4B06-B20A-168F2B9DF08F}"/>
              </a:ext>
            </a:extLst>
          </p:cNvPr>
          <p:cNvGrpSpPr/>
          <p:nvPr/>
        </p:nvGrpSpPr>
        <p:grpSpPr>
          <a:xfrm>
            <a:off x="5366782" y="39192"/>
            <a:ext cx="1691443" cy="252000"/>
            <a:chOff x="711397" y="5378000"/>
            <a:chExt cx="1691443" cy="252000"/>
          </a:xfrm>
        </p:grpSpPr>
        <p:sp>
          <p:nvSpPr>
            <p:cNvPr id="87" name="Rectangle à coins arrondis 67">
              <a:extLst>
                <a:ext uri="{FF2B5EF4-FFF2-40B4-BE49-F238E27FC236}">
                  <a16:creationId xmlns:a16="http://schemas.microsoft.com/office/drawing/2014/main" id="{8553C350-F582-4AA2-9132-DADA471F927F}"/>
                </a:ext>
              </a:extLst>
            </p:cNvPr>
            <p:cNvSpPr/>
            <p:nvPr/>
          </p:nvSpPr>
          <p:spPr>
            <a:xfrm>
              <a:off x="808072" y="5378000"/>
              <a:ext cx="1594768" cy="252000"/>
            </a:xfrm>
            <a:prstGeom prst="roundRect">
              <a:avLst/>
            </a:prstGeom>
            <a:solidFill>
              <a:srgbClr val="FFD000"/>
            </a:solidFill>
            <a:ln>
              <a:solidFill>
                <a:srgbClr val="FFD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fr-FR" sz="1400" dirty="0">
                  <a:latin typeface="Liebherr Head Office" panose="020B0504030000000000" pitchFamily="34" charset="0"/>
                </a:rPr>
                <a:t>Macro-planning </a:t>
              </a:r>
            </a:p>
          </p:txBody>
        </p:sp>
        <p:sp>
          <p:nvSpPr>
            <p:cNvPr id="88" name="Ellipse 87">
              <a:extLst>
                <a:ext uri="{FF2B5EF4-FFF2-40B4-BE49-F238E27FC236}">
                  <a16:creationId xmlns:a16="http://schemas.microsoft.com/office/drawing/2014/main" id="{508BE6B9-B9F5-4099-BED4-3F14DB1C731F}"/>
                </a:ext>
              </a:extLst>
            </p:cNvPr>
            <p:cNvSpPr/>
            <p:nvPr/>
          </p:nvSpPr>
          <p:spPr>
            <a:xfrm>
              <a:off x="711397" y="5378000"/>
              <a:ext cx="252000" cy="25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D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GB" sz="1800" b="0" i="0" u="none" baseline="0" dirty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89" name="Picture 11" descr="C:\Users\NG50BBA\Downloads\wall-calendar.png">
              <a:extLst>
                <a:ext uri="{FF2B5EF4-FFF2-40B4-BE49-F238E27FC236}">
                  <a16:creationId xmlns:a16="http://schemas.microsoft.com/office/drawing/2014/main" id="{FB066F67-AE5D-470F-A3CA-4F3DC7E9FE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6397" y="5423000"/>
              <a:ext cx="162000" cy="16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0" name="Groupe 89">
            <a:extLst>
              <a:ext uri="{FF2B5EF4-FFF2-40B4-BE49-F238E27FC236}">
                <a16:creationId xmlns:a16="http://schemas.microsoft.com/office/drawing/2014/main" id="{BA2ADCA7-93C9-4766-92EC-018F83F1C95B}"/>
              </a:ext>
            </a:extLst>
          </p:cNvPr>
          <p:cNvGrpSpPr/>
          <p:nvPr/>
        </p:nvGrpSpPr>
        <p:grpSpPr>
          <a:xfrm>
            <a:off x="5986149" y="203583"/>
            <a:ext cx="5664514" cy="901638"/>
            <a:chOff x="911120" y="5558429"/>
            <a:chExt cx="3392300" cy="762119"/>
          </a:xfrm>
        </p:grpSpPr>
        <p:cxnSp>
          <p:nvCxnSpPr>
            <p:cNvPr id="91" name="Connecteur droit 90">
              <a:extLst>
                <a:ext uri="{FF2B5EF4-FFF2-40B4-BE49-F238E27FC236}">
                  <a16:creationId xmlns:a16="http://schemas.microsoft.com/office/drawing/2014/main" id="{6811EFA7-9B34-45E5-949E-050F29F739F3}"/>
                </a:ext>
              </a:extLst>
            </p:cNvPr>
            <p:cNvCxnSpPr/>
            <p:nvPr/>
          </p:nvCxnSpPr>
          <p:spPr>
            <a:xfrm>
              <a:off x="1113669" y="5924548"/>
              <a:ext cx="0" cy="396000"/>
            </a:xfrm>
            <a:prstGeom prst="line">
              <a:avLst/>
            </a:prstGeom>
            <a:ln w="12700" cap="flat" cmpd="sng" algn="ctr">
              <a:solidFill>
                <a:srgbClr val="8BB2C2"/>
              </a:solidFill>
              <a:prstDash val="sys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Organigramme : Décision 91">
              <a:extLst>
                <a:ext uri="{FF2B5EF4-FFF2-40B4-BE49-F238E27FC236}">
                  <a16:creationId xmlns:a16="http://schemas.microsoft.com/office/drawing/2014/main" id="{C9893974-122B-40F5-9485-9501B13E6DA3}"/>
                </a:ext>
              </a:extLst>
            </p:cNvPr>
            <p:cNvSpPr/>
            <p:nvPr/>
          </p:nvSpPr>
          <p:spPr>
            <a:xfrm>
              <a:off x="1053235" y="6011280"/>
              <a:ext cx="124917" cy="180001"/>
            </a:xfrm>
            <a:prstGeom prst="flowChartDecision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GB" sz="1800" b="0" i="0" u="none" baseline="0" dirty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ADC21686-B358-4E7C-8E55-CEB4A778AB9C}"/>
                </a:ext>
              </a:extLst>
            </p:cNvPr>
            <p:cNvSpPr/>
            <p:nvPr/>
          </p:nvSpPr>
          <p:spPr>
            <a:xfrm>
              <a:off x="923257" y="6164620"/>
              <a:ext cx="358322" cy="126491"/>
            </a:xfrm>
            <a:prstGeom prst="rect">
              <a:avLst/>
            </a:prstGeom>
          </p:spPr>
          <p:txBody>
            <a:bodyPr wrap="square" lIns="36000" tIns="36000" rIns="36000" bIns="3600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500" b="1" i="1" dirty="0">
                  <a:solidFill>
                    <a:schemeClr val="accent6">
                      <a:lumMod val="100000"/>
                    </a:schemeClr>
                  </a:solidFill>
                  <a:latin typeface="Liebherr Head Office" panose="020B0504030000000000" pitchFamily="34" charset="0"/>
                  <a:ea typeface="+mn-ea"/>
                  <a:cs typeface="Arial" panose="020B0604020202020204" pitchFamily="34" charset="0"/>
                </a:rPr>
                <a:t>GO</a:t>
              </a:r>
              <a:endParaRPr kumimoji="0" lang="fr-FR" sz="500" b="1" i="1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100000"/>
                  </a:schemeClr>
                </a:solidFill>
                <a:effectLst/>
                <a:uLnTx/>
                <a:uFillTx/>
                <a:latin typeface="Liebherr Head Office" panose="020B0504030000000000" pitchFamily="34" charset="0"/>
                <a:ea typeface="+mn-ea"/>
                <a:cs typeface="Arial" panose="020B0604020202020204" pitchFamily="34" charset="0"/>
              </a:endParaRPr>
            </a:p>
          </p:txBody>
        </p:sp>
        <p:cxnSp>
          <p:nvCxnSpPr>
            <p:cNvPr id="94" name="Connecteur droit avec flèche 93">
              <a:extLst>
                <a:ext uri="{FF2B5EF4-FFF2-40B4-BE49-F238E27FC236}">
                  <a16:creationId xmlns:a16="http://schemas.microsoft.com/office/drawing/2014/main" id="{CA348B3A-8729-4393-A8F3-017CCE6DE7C4}"/>
                </a:ext>
              </a:extLst>
            </p:cNvPr>
            <p:cNvCxnSpPr/>
            <p:nvPr/>
          </p:nvCxnSpPr>
          <p:spPr>
            <a:xfrm>
              <a:off x="911120" y="5925830"/>
              <a:ext cx="3392300" cy="0"/>
            </a:xfrm>
            <a:prstGeom prst="straightConnector1">
              <a:avLst/>
            </a:prstGeom>
            <a:ln w="38100" cap="flat" cmpd="sng" algn="ctr">
              <a:solidFill>
                <a:srgbClr val="5789A4"/>
              </a:solidFill>
              <a:prstDash val="solid"/>
              <a:miter lim="800000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Connecteur droit 94">
              <a:extLst>
                <a:ext uri="{FF2B5EF4-FFF2-40B4-BE49-F238E27FC236}">
                  <a16:creationId xmlns:a16="http://schemas.microsoft.com/office/drawing/2014/main" id="{6320B416-F5B6-42E1-9EA7-A7F9549438D2}"/>
                </a:ext>
              </a:extLst>
            </p:cNvPr>
            <p:cNvCxnSpPr/>
            <p:nvPr/>
          </p:nvCxnSpPr>
          <p:spPr>
            <a:xfrm>
              <a:off x="2746041" y="5924548"/>
              <a:ext cx="0" cy="396000"/>
            </a:xfrm>
            <a:prstGeom prst="line">
              <a:avLst/>
            </a:prstGeom>
            <a:ln w="12700" cap="flat" cmpd="sng" algn="ctr">
              <a:solidFill>
                <a:srgbClr val="8BB2C2"/>
              </a:solidFill>
              <a:prstDash val="sysDash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158E7697-5F4C-49EC-9810-4599E20FDCE9}"/>
                </a:ext>
              </a:extLst>
            </p:cNvPr>
            <p:cNvSpPr/>
            <p:nvPr/>
          </p:nvSpPr>
          <p:spPr>
            <a:xfrm>
              <a:off x="1861069" y="5704016"/>
              <a:ext cx="180670" cy="1951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900" b="1" i="1" dirty="0">
                  <a:solidFill>
                    <a:schemeClr val="tx2">
                      <a:lumMod val="100000"/>
                    </a:schemeClr>
                  </a:solidFill>
                  <a:latin typeface="Liebherr Head Office" panose="020B0504030000000000" pitchFamily="34" charset="0"/>
                  <a:ea typeface="+mn-ea"/>
                  <a:cs typeface="Arial" panose="020B0604020202020204" pitchFamily="34" charset="0"/>
                </a:rPr>
                <a:t>Q1</a:t>
              </a:r>
              <a:endParaRPr kumimoji="0" lang="fr-FR" sz="900" b="1" i="1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100000"/>
                  </a:schemeClr>
                </a:solidFill>
                <a:effectLst/>
                <a:uLnTx/>
                <a:uFillTx/>
                <a:latin typeface="Liebherr Head Office" panose="020B0504030000000000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8E0EF3D5-BCD1-4413-87A0-218829447B64}"/>
                </a:ext>
              </a:extLst>
            </p:cNvPr>
            <p:cNvSpPr/>
            <p:nvPr/>
          </p:nvSpPr>
          <p:spPr>
            <a:xfrm>
              <a:off x="3326121" y="5711173"/>
              <a:ext cx="186430" cy="1951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900" b="1" i="1" dirty="0">
                  <a:solidFill>
                    <a:schemeClr val="tx2">
                      <a:lumMod val="100000"/>
                    </a:schemeClr>
                  </a:solidFill>
                  <a:latin typeface="Liebherr Head Office" panose="020B0504030000000000" pitchFamily="34" charset="0"/>
                  <a:ea typeface="+mn-ea"/>
                  <a:cs typeface="Arial" panose="020B0604020202020204" pitchFamily="34" charset="0"/>
                </a:rPr>
                <a:t>Q2</a:t>
              </a:r>
              <a:endParaRPr kumimoji="0" lang="fr-FR" sz="900" b="1" i="1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100000"/>
                  </a:schemeClr>
                </a:solidFill>
                <a:effectLst/>
                <a:uLnTx/>
                <a:uFillTx/>
                <a:latin typeface="Liebherr Head Office" panose="020B0504030000000000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55CD6543-7BA6-49F4-B02C-EFB48ACB67C6}"/>
                </a:ext>
              </a:extLst>
            </p:cNvPr>
            <p:cNvSpPr/>
            <p:nvPr/>
          </p:nvSpPr>
          <p:spPr>
            <a:xfrm>
              <a:off x="2395228" y="5558429"/>
              <a:ext cx="275708" cy="21462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050" b="1" dirty="0">
                  <a:solidFill>
                    <a:schemeClr val="dk2"/>
                  </a:solidFill>
                  <a:latin typeface="Liebherr Head Office" panose="020B0504030000000000" pitchFamily="34" charset="0"/>
                  <a:ea typeface="+mn-ea"/>
                  <a:cs typeface="Arial" panose="020B0604020202020204" pitchFamily="34" charset="0"/>
                </a:rPr>
                <a:t>2025</a:t>
              </a:r>
              <a:endParaRPr kumimoji="0" lang="fr-FR" sz="1050" b="1" u="none" strike="noStrike" kern="0" cap="none" spc="0" normalizeH="0" baseline="0" noProof="0" dirty="0">
                <a:ln>
                  <a:noFill/>
                </a:ln>
                <a:solidFill>
                  <a:schemeClr val="dk2"/>
                </a:solidFill>
                <a:effectLst/>
                <a:uLnTx/>
                <a:uFillTx/>
                <a:latin typeface="Liebherr Head Office" panose="020B0504030000000000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9" name="Chevron 81">
              <a:extLst>
                <a:ext uri="{FF2B5EF4-FFF2-40B4-BE49-F238E27FC236}">
                  <a16:creationId xmlns:a16="http://schemas.microsoft.com/office/drawing/2014/main" id="{49C6F845-1F82-4D2E-937A-55F515175B9F}"/>
                </a:ext>
              </a:extLst>
            </p:cNvPr>
            <p:cNvSpPr/>
            <p:nvPr/>
          </p:nvSpPr>
          <p:spPr bwMode="auto">
            <a:xfrm>
              <a:off x="1239111" y="6021288"/>
              <a:ext cx="504000" cy="216001"/>
            </a:xfrm>
            <a:prstGeom prst="chevron">
              <a:avLst>
                <a:gd name="adj" fmla="val 21340"/>
              </a:avLst>
            </a:prstGeom>
            <a:solidFill>
              <a:srgbClr val="5789A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1042988" rtl="0" eaLnBrk="1" fontAlgn="base" latinLnBrk="0" hangingPunct="1">
                <a:lnSpc>
                  <a:spcPct val="11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sz="700" b="1" dirty="0" err="1">
                  <a:solidFill>
                    <a:schemeClr val="lt1"/>
                  </a:solidFill>
                </a:rPr>
                <a:t>Bench</a:t>
              </a:r>
              <a:r>
                <a:rPr lang="fr-FR" sz="700" b="1" dirty="0">
                  <a:solidFill>
                    <a:schemeClr val="lt1"/>
                  </a:solidFill>
                </a:rPr>
                <a:t>.</a:t>
              </a:r>
              <a:endParaRPr lang="en-GB" sz="700" b="1" dirty="0">
                <a:solidFill>
                  <a:schemeClr val="lt1"/>
                </a:solidFill>
              </a:endParaRPr>
            </a:p>
          </p:txBody>
        </p:sp>
        <p:sp>
          <p:nvSpPr>
            <p:cNvPr id="100" name="Chevron 82">
              <a:extLst>
                <a:ext uri="{FF2B5EF4-FFF2-40B4-BE49-F238E27FC236}">
                  <a16:creationId xmlns:a16="http://schemas.microsoft.com/office/drawing/2014/main" id="{052F902D-FC2C-4D2B-8581-ADDF2114A828}"/>
                </a:ext>
              </a:extLst>
            </p:cNvPr>
            <p:cNvSpPr/>
            <p:nvPr/>
          </p:nvSpPr>
          <p:spPr bwMode="auto">
            <a:xfrm>
              <a:off x="1743111" y="6021288"/>
              <a:ext cx="1440000" cy="216001"/>
            </a:xfrm>
            <a:prstGeom prst="chevron">
              <a:avLst>
                <a:gd name="adj" fmla="val 21340"/>
              </a:avLst>
            </a:prstGeom>
            <a:solidFill>
              <a:schemeClr val="tx2">
                <a:lumMod val="10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1042988" rtl="0" eaLnBrk="1" fontAlgn="base" latinLnBrk="0" hangingPunct="1">
                <a:lnSpc>
                  <a:spcPct val="11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sz="700" b="1" dirty="0">
                  <a:solidFill>
                    <a:schemeClr val="lt1"/>
                  </a:solidFill>
                </a:rPr>
                <a:t>Expérimentation</a:t>
              </a:r>
              <a:endParaRPr lang="en-GB" sz="700" b="1" dirty="0">
                <a:solidFill>
                  <a:schemeClr val="lt1"/>
                </a:solidFill>
              </a:endParaRPr>
            </a:p>
          </p:txBody>
        </p:sp>
        <p:sp>
          <p:nvSpPr>
            <p:cNvPr id="101" name="Chevron 83">
              <a:extLst>
                <a:ext uri="{FF2B5EF4-FFF2-40B4-BE49-F238E27FC236}">
                  <a16:creationId xmlns:a16="http://schemas.microsoft.com/office/drawing/2014/main" id="{8273DB61-B14B-4CCE-85AA-0034EFA00C3B}"/>
                </a:ext>
              </a:extLst>
            </p:cNvPr>
            <p:cNvSpPr/>
            <p:nvPr/>
          </p:nvSpPr>
          <p:spPr bwMode="auto">
            <a:xfrm>
              <a:off x="3183111" y="6021288"/>
              <a:ext cx="504000" cy="216001"/>
            </a:xfrm>
            <a:prstGeom prst="chevron">
              <a:avLst>
                <a:gd name="adj" fmla="val 21340"/>
              </a:avLst>
            </a:prstGeom>
            <a:solidFill>
              <a:srgbClr val="5789A4"/>
            </a:solidFill>
            <a:ln w="9525" cap="flat" cmpd="sng" algn="ctr">
              <a:solidFill>
                <a:srgbClr val="5789A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1042988" rtl="0" eaLnBrk="1" fontAlgn="base" latinLnBrk="0" hangingPunct="1">
                <a:lnSpc>
                  <a:spcPct val="11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sz="700" b="1" dirty="0" err="1">
                  <a:solidFill>
                    <a:schemeClr val="lt1"/>
                  </a:solidFill>
                </a:rPr>
                <a:t>Eval</a:t>
              </a:r>
              <a:r>
                <a:rPr lang="fr-FR" sz="700" b="1" dirty="0">
                  <a:solidFill>
                    <a:schemeClr val="lt1"/>
                  </a:solidFill>
                </a:rPr>
                <a:t>.</a:t>
              </a:r>
              <a:endParaRPr lang="en-GB" sz="700" b="1" dirty="0">
                <a:solidFill>
                  <a:schemeClr val="lt1"/>
                </a:solidFill>
              </a:endParaRPr>
            </a:p>
          </p:txBody>
        </p:sp>
        <p:sp>
          <p:nvSpPr>
            <p:cNvPr id="102" name="Chevron 84">
              <a:extLst>
                <a:ext uri="{FF2B5EF4-FFF2-40B4-BE49-F238E27FC236}">
                  <a16:creationId xmlns:a16="http://schemas.microsoft.com/office/drawing/2014/main" id="{7BE5EC9D-7B75-4007-8479-DD20D0BE6D33}"/>
                </a:ext>
              </a:extLst>
            </p:cNvPr>
            <p:cNvSpPr/>
            <p:nvPr/>
          </p:nvSpPr>
          <p:spPr bwMode="auto">
            <a:xfrm>
              <a:off x="3687111" y="6021288"/>
              <a:ext cx="360000" cy="216001"/>
            </a:xfrm>
            <a:prstGeom prst="chevron">
              <a:avLst>
                <a:gd name="adj" fmla="val 21340"/>
              </a:avLst>
            </a:prstGeom>
            <a:solidFill>
              <a:schemeClr val="tx2">
                <a:lumMod val="10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45720" rIns="3600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1042988" rtl="0" eaLnBrk="1" fontAlgn="base" latinLnBrk="0" hangingPunct="1">
                <a:lnSpc>
                  <a:spcPct val="11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sz="700" b="1" dirty="0">
                  <a:solidFill>
                    <a:schemeClr val="lt1"/>
                  </a:solidFill>
                </a:rPr>
                <a:t>REX</a:t>
              </a:r>
              <a:endParaRPr lang="en-GB" sz="700" b="1" dirty="0">
                <a:solidFill>
                  <a:schemeClr val="lt1"/>
                </a:solidFill>
              </a:endParaRPr>
            </a:p>
          </p:txBody>
        </p:sp>
      </p:grpSp>
      <p:sp>
        <p:nvSpPr>
          <p:cNvPr id="54" name="Espace réservé du texte 7">
            <a:extLst>
              <a:ext uri="{FF2B5EF4-FFF2-40B4-BE49-F238E27FC236}">
                <a16:creationId xmlns:a16="http://schemas.microsoft.com/office/drawing/2014/main" id="{BF31DE01-D6F0-4FB6-A788-2244183577F9}"/>
              </a:ext>
            </a:extLst>
          </p:cNvPr>
          <p:cNvSpPr txBox="1">
            <a:spLocks/>
          </p:cNvSpPr>
          <p:nvPr/>
        </p:nvSpPr>
        <p:spPr bwMode="gray">
          <a:xfrm>
            <a:off x="550862" y="257178"/>
            <a:ext cx="8500005" cy="2066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Tx/>
              <a:buNone/>
              <a:defRPr lang="en-US" sz="1800" b="1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36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44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08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3">
                    <a:lumMod val="100000"/>
                  </a:schemeClr>
                </a:solidFill>
                <a:latin typeface="Liebherr Head Office" panose="020B0504030000000000" pitchFamily="34" charset="0"/>
              </a:rPr>
              <a:t>Fiche Projet : Descriptif Expérimentation</a:t>
            </a:r>
            <a:endParaRPr lang="en-GB" sz="2000" dirty="0">
              <a:solidFill>
                <a:schemeClr val="accent3">
                  <a:lumMod val="100000"/>
                </a:schemeClr>
              </a:solidFill>
              <a:latin typeface="Liebherr Head Office" panose="020B0504030000000000" pitchFamily="34" charset="0"/>
            </a:endParaRPr>
          </a:p>
        </p:txBody>
      </p:sp>
      <p:sp>
        <p:nvSpPr>
          <p:cNvPr id="55" name="Rectangle à coins arrondis 87">
            <a:extLst>
              <a:ext uri="{FF2B5EF4-FFF2-40B4-BE49-F238E27FC236}">
                <a16:creationId xmlns:a16="http://schemas.microsoft.com/office/drawing/2014/main" id="{A2568CB9-E130-4745-82BE-FA174D1F3B95}"/>
              </a:ext>
            </a:extLst>
          </p:cNvPr>
          <p:cNvSpPr/>
          <p:nvPr/>
        </p:nvSpPr>
        <p:spPr>
          <a:xfrm>
            <a:off x="6354593" y="4238972"/>
            <a:ext cx="5448818" cy="2150947"/>
          </a:xfrm>
          <a:prstGeom prst="roundRect">
            <a:avLst>
              <a:gd name="adj" fmla="val 8414"/>
            </a:avLst>
          </a:prstGeom>
          <a:ln>
            <a:solidFill>
              <a:srgbClr val="FFD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144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Difficultés ou Risques principaux appréhendés lors de l’expérimentation</a:t>
            </a: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Contraintes éventuelles</a:t>
            </a:r>
          </a:p>
        </p:txBody>
      </p:sp>
      <p:sp>
        <p:nvSpPr>
          <p:cNvPr id="56" name="Rectangle à coins arrondis 88">
            <a:extLst>
              <a:ext uri="{FF2B5EF4-FFF2-40B4-BE49-F238E27FC236}">
                <a16:creationId xmlns:a16="http://schemas.microsoft.com/office/drawing/2014/main" id="{7A6364A5-448E-4F70-A8EF-317684E97BB9}"/>
              </a:ext>
            </a:extLst>
          </p:cNvPr>
          <p:cNvSpPr/>
          <p:nvPr/>
        </p:nvSpPr>
        <p:spPr>
          <a:xfrm>
            <a:off x="6547706" y="4144436"/>
            <a:ext cx="1873237" cy="252000"/>
          </a:xfrm>
          <a:prstGeom prst="roundRect">
            <a:avLst/>
          </a:prstGeom>
          <a:solidFill>
            <a:srgbClr val="FFD000"/>
          </a:solidFill>
          <a:ln>
            <a:solidFill>
              <a:srgbClr val="FFD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latin typeface="Liebherr Head Office" panose="020B0504030000000000" pitchFamily="34" charset="0"/>
              </a:rPr>
              <a:t>Risques / Difficulté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9EBA522-1A72-4932-9860-1CED8B7965A5}"/>
              </a:ext>
            </a:extLst>
          </p:cNvPr>
          <p:cNvSpPr/>
          <p:nvPr/>
        </p:nvSpPr>
        <p:spPr>
          <a:xfrm>
            <a:off x="5181186" y="343079"/>
            <a:ext cx="6096000" cy="2308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900" i="1" dirty="0">
                <a:solidFill>
                  <a:schemeClr val="accent6">
                    <a:lumMod val="100000"/>
                  </a:schemeClr>
                </a:solidFill>
              </a:rPr>
              <a:t>Décrivez le planning macro de votre projet </a:t>
            </a:r>
          </a:p>
        </p:txBody>
      </p:sp>
      <p:sp>
        <p:nvSpPr>
          <p:cNvPr id="48" name="Rectangle à coins arrondis 87">
            <a:extLst>
              <a:ext uri="{FF2B5EF4-FFF2-40B4-BE49-F238E27FC236}">
                <a16:creationId xmlns:a16="http://schemas.microsoft.com/office/drawing/2014/main" id="{7B4D0340-4BE4-4CE1-BAA6-59D613184180}"/>
              </a:ext>
            </a:extLst>
          </p:cNvPr>
          <p:cNvSpPr/>
          <p:nvPr/>
        </p:nvSpPr>
        <p:spPr>
          <a:xfrm>
            <a:off x="541261" y="5229606"/>
            <a:ext cx="5682193" cy="1160313"/>
          </a:xfrm>
          <a:prstGeom prst="roundRect">
            <a:avLst>
              <a:gd name="adj" fmla="val 8414"/>
            </a:avLst>
          </a:prstGeom>
          <a:ln>
            <a:solidFill>
              <a:srgbClr val="FFD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144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fr-FR" sz="1000" i="1" dirty="0">
              <a:solidFill>
                <a:schemeClr val="accent6">
                  <a:lumMod val="100000"/>
                </a:schemeClr>
              </a:solidFill>
              <a:latin typeface="Liebherr Text Office" panose="020B0604030000000000" pitchFamily="34" charset="0"/>
              <a:cs typeface="Arial" panose="020B0604020202020204" pitchFamily="34" charset="0"/>
            </a:endParaRP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Précisez, le cas échéant, les attentes que vous avez avec les équipes de Liebherr pour l’expérimentation (Cahier des charges fonctionnel , Temps humain pour vous assister dans le déploiement des projets , réalisation des essais ou des prototypes avec nos installations, Etc…) </a:t>
            </a:r>
          </a:p>
        </p:txBody>
      </p:sp>
      <p:sp>
        <p:nvSpPr>
          <p:cNvPr id="49" name="Rectangle à coins arrondis 88">
            <a:extLst>
              <a:ext uri="{FF2B5EF4-FFF2-40B4-BE49-F238E27FC236}">
                <a16:creationId xmlns:a16="http://schemas.microsoft.com/office/drawing/2014/main" id="{60D791AA-568D-40A6-B269-960DDDD37A83}"/>
              </a:ext>
            </a:extLst>
          </p:cNvPr>
          <p:cNvSpPr/>
          <p:nvPr/>
        </p:nvSpPr>
        <p:spPr>
          <a:xfrm>
            <a:off x="791339" y="5079359"/>
            <a:ext cx="2494615" cy="286405"/>
          </a:xfrm>
          <a:prstGeom prst="roundRect">
            <a:avLst/>
          </a:prstGeom>
          <a:solidFill>
            <a:srgbClr val="FFD000"/>
          </a:solidFill>
          <a:ln>
            <a:solidFill>
              <a:srgbClr val="FFD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400" dirty="0">
                <a:latin typeface="Liebherr Head Office" panose="020B0504030000000000" pitchFamily="34" charset="0"/>
              </a:rPr>
              <a:t>Attentes vis à vis de Liebherr</a:t>
            </a:r>
          </a:p>
        </p:txBody>
      </p:sp>
    </p:spTree>
    <p:extLst>
      <p:ext uri="{BB962C8B-B14F-4D97-AF65-F5344CB8AC3E}">
        <p14:creationId xmlns:p14="http://schemas.microsoft.com/office/powerpoint/2010/main" val="15072166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à coins arrondis 29"/>
          <p:cNvSpPr/>
          <p:nvPr/>
        </p:nvSpPr>
        <p:spPr>
          <a:xfrm>
            <a:off x="473089" y="1441186"/>
            <a:ext cx="5658629" cy="4948733"/>
          </a:xfrm>
          <a:prstGeom prst="roundRect">
            <a:avLst>
              <a:gd name="adj" fmla="val 2112"/>
            </a:avLst>
          </a:prstGeom>
          <a:ln>
            <a:solidFill>
              <a:srgbClr val="2EA675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144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</a:rPr>
              <a:t>Présentez brièvement votre entreprise en mentionnant sa date de création, son secteur d’activité principal, et sa mission. </a:t>
            </a:r>
          </a:p>
          <a:p>
            <a:endParaRPr lang="fr-FR" sz="1000" i="1" dirty="0">
              <a:solidFill>
                <a:schemeClr val="accent6">
                  <a:lumMod val="100000"/>
                </a:schemeClr>
              </a:solidFill>
            </a:endParaRP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</a:rPr>
              <a:t>Vous pouvez également inclure des éléments comme votre taille (nombre d’employés) et la structure juridique.</a:t>
            </a:r>
          </a:p>
        </p:txBody>
      </p:sp>
      <p:grpSp>
        <p:nvGrpSpPr>
          <p:cNvPr id="32" name="Groupe 31"/>
          <p:cNvGrpSpPr/>
          <p:nvPr/>
        </p:nvGrpSpPr>
        <p:grpSpPr>
          <a:xfrm>
            <a:off x="695864" y="1218871"/>
            <a:ext cx="1772306" cy="322986"/>
            <a:chOff x="4259147" y="4055169"/>
            <a:chExt cx="1565712" cy="252002"/>
          </a:xfrm>
          <a:solidFill>
            <a:srgbClr val="FFD000"/>
          </a:solidFill>
        </p:grpSpPr>
        <p:sp>
          <p:nvSpPr>
            <p:cNvPr id="34" name="Rectangle à coins arrondis 33"/>
            <p:cNvSpPr/>
            <p:nvPr/>
          </p:nvSpPr>
          <p:spPr>
            <a:xfrm>
              <a:off x="4382548" y="4055171"/>
              <a:ext cx="1442311" cy="252000"/>
            </a:xfrm>
            <a:prstGeom prst="roundRect">
              <a:avLst/>
            </a:prstGeom>
            <a:solidFill>
              <a:srgbClr val="2EA675"/>
            </a:solidFill>
            <a:ln>
              <a:solidFill>
                <a:srgbClr val="2EA6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fr-FR" sz="1400" dirty="0">
                  <a:latin typeface="Liebherr Head Office" panose="020B0504030000000000" pitchFamily="34" charset="0"/>
                </a:rPr>
                <a:t>PRESENTATION</a:t>
              </a:r>
            </a:p>
          </p:txBody>
        </p:sp>
        <p:sp>
          <p:nvSpPr>
            <p:cNvPr id="35" name="Ellipse 34"/>
            <p:cNvSpPr/>
            <p:nvPr/>
          </p:nvSpPr>
          <p:spPr>
            <a:xfrm>
              <a:off x="4259147" y="4055169"/>
              <a:ext cx="284883" cy="252000"/>
            </a:xfrm>
            <a:prstGeom prst="ellipse">
              <a:avLst/>
            </a:prstGeom>
            <a:solidFill>
              <a:schemeClr val="lt1"/>
            </a:solidFill>
            <a:ln>
              <a:solidFill>
                <a:srgbClr val="2EA6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GB" sz="1800" b="0" i="0" u="none" baseline="0" dirty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8" name="Espace réservé du texte 4"/>
          <p:cNvSpPr txBox="1">
            <a:spLocks/>
          </p:cNvSpPr>
          <p:nvPr/>
        </p:nvSpPr>
        <p:spPr bwMode="gray">
          <a:xfrm>
            <a:off x="550862" y="271610"/>
            <a:ext cx="10744202" cy="3672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2400"/>
              </a:spcBef>
              <a:spcAft>
                <a:spcPts val="0"/>
              </a:spcAft>
              <a:buFontTx/>
              <a:buNone/>
              <a:defRPr lang="en-US" sz="1800" b="1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36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44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90800" indent="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2000" indent="-216000" algn="l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Font typeface="Liebherr Text Office" panose="020B0604030000000000" pitchFamily="34" charset="0"/>
              <a:buChar char="—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3">
                    <a:lumMod val="100000"/>
                  </a:schemeClr>
                </a:solidFill>
                <a:latin typeface="Liebherr Head Office" panose="020B0504030000000000" pitchFamily="34" charset="0"/>
              </a:rPr>
              <a:t>Fiche projet : Le ou les porteur(s)</a:t>
            </a:r>
            <a:endParaRPr lang="en-GB" sz="2000" dirty="0">
              <a:solidFill>
                <a:schemeClr val="accent3">
                  <a:lumMod val="100000"/>
                </a:schemeClr>
              </a:solidFill>
              <a:latin typeface="Liebherr Head Office" panose="020B0504030000000000" pitchFamily="34" charset="0"/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6354593" y="5220758"/>
            <a:ext cx="5490270" cy="1169161"/>
          </a:xfrm>
          <a:prstGeom prst="roundRect">
            <a:avLst>
              <a:gd name="adj" fmla="val 8414"/>
            </a:avLst>
          </a:prstGeom>
          <a:ln>
            <a:solidFill>
              <a:srgbClr val="2EA675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144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Expérience de la Sté sur la techno proposée</a:t>
            </a:r>
          </a:p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  <a:latin typeface="Liebherr Text Office" panose="020B0604030000000000" pitchFamily="34" charset="0"/>
                <a:cs typeface="Arial" panose="020B0604020202020204" pitchFamily="34" charset="0"/>
              </a:rPr>
              <a:t>Références éventuelles</a:t>
            </a:r>
          </a:p>
          <a:p>
            <a:pPr marL="88900" indent="-88900">
              <a:buFont typeface="Arial" panose="020B0604020202020204" pitchFamily="34" charset="0"/>
              <a:buChar char="•"/>
            </a:pPr>
            <a:endParaRPr lang="en-US" sz="800" dirty="0"/>
          </a:p>
        </p:txBody>
      </p:sp>
      <p:grpSp>
        <p:nvGrpSpPr>
          <p:cNvPr id="14" name="Groupe 13"/>
          <p:cNvGrpSpPr/>
          <p:nvPr/>
        </p:nvGrpSpPr>
        <p:grpSpPr>
          <a:xfrm>
            <a:off x="6619721" y="4974429"/>
            <a:ext cx="2145900" cy="322983"/>
            <a:chOff x="4262887" y="4055171"/>
            <a:chExt cx="1895757" cy="252000"/>
          </a:xfrm>
          <a:solidFill>
            <a:srgbClr val="FFD000"/>
          </a:solidFill>
        </p:grpSpPr>
        <p:sp>
          <p:nvSpPr>
            <p:cNvPr id="16" name="Rectangle à coins arrondis 15"/>
            <p:cNvSpPr/>
            <p:nvPr/>
          </p:nvSpPr>
          <p:spPr>
            <a:xfrm>
              <a:off x="4355821" y="4055171"/>
              <a:ext cx="1802823" cy="252000"/>
            </a:xfrm>
            <a:prstGeom prst="roundRect">
              <a:avLst/>
            </a:prstGeom>
            <a:solidFill>
              <a:srgbClr val="2EA675"/>
            </a:solidFill>
            <a:ln>
              <a:solidFill>
                <a:srgbClr val="2EA6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fr-FR" sz="1400" dirty="0">
                  <a:latin typeface="Liebherr Head Office" panose="020B0504030000000000" pitchFamily="34" charset="0"/>
                </a:rPr>
                <a:t>Maturité/Expérience</a:t>
              </a:r>
            </a:p>
          </p:txBody>
        </p:sp>
        <p:sp>
          <p:nvSpPr>
            <p:cNvPr id="17" name="Ellipse 16"/>
            <p:cNvSpPr/>
            <p:nvPr/>
          </p:nvSpPr>
          <p:spPr>
            <a:xfrm>
              <a:off x="4262887" y="4055171"/>
              <a:ext cx="289486" cy="252000"/>
            </a:xfrm>
            <a:prstGeom prst="ellipse">
              <a:avLst/>
            </a:prstGeom>
            <a:solidFill>
              <a:schemeClr val="lt1"/>
            </a:solidFill>
            <a:ln>
              <a:solidFill>
                <a:srgbClr val="2EA6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GB" sz="1800" b="0" i="0" u="none" baseline="0" dirty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4" name="Titr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scription Porteur(s)</a:t>
            </a:r>
          </a:p>
        </p:txBody>
      </p:sp>
      <p:sp>
        <p:nvSpPr>
          <p:cNvPr id="27" name="Espace réservé du pied de page 2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/>
              <a:t>Title of Presentation</a:t>
            </a:r>
            <a:endParaRPr lang="en-GB" dirty="0"/>
          </a:p>
        </p:txBody>
      </p:sp>
      <p:sp>
        <p:nvSpPr>
          <p:cNvPr id="28" name="Espace réservé de la date 27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54D1906-ADF9-4689-926C-B2790E9A9D3F}" type="datetime1">
              <a:rPr lang="en-GB" smtClean="0"/>
              <a:t>09/10/2024</a:t>
            </a:fld>
            <a:endParaRPr lang="en-GB" dirty="0"/>
          </a:p>
        </p:txBody>
      </p:sp>
      <p:sp>
        <p:nvSpPr>
          <p:cNvPr id="29" name="Espace réservé du numéro de diapositive 28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37" name="Rectangle à coins arrondis 36"/>
          <p:cNvSpPr/>
          <p:nvPr/>
        </p:nvSpPr>
        <p:spPr>
          <a:xfrm>
            <a:off x="6354593" y="1446624"/>
            <a:ext cx="5448819" cy="3446505"/>
          </a:xfrm>
          <a:prstGeom prst="roundRect">
            <a:avLst>
              <a:gd name="adj" fmla="val 3064"/>
            </a:avLst>
          </a:prstGeom>
          <a:ln>
            <a:solidFill>
              <a:srgbClr val="2EA675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144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000" i="1" dirty="0">
                <a:solidFill>
                  <a:schemeClr val="accent6">
                    <a:lumMod val="100000"/>
                  </a:schemeClr>
                </a:solidFill>
              </a:rPr>
              <a:t>Mentionnez les projets majeurs, réussites ou collaborations importantes que vous avez réalisées au cours des dernières années. Cela peut inclure des partenariats avec d'autres entreprises, des projets de R&amp;D ou des produits/solutions développés et commercialisés.</a:t>
            </a:r>
          </a:p>
        </p:txBody>
      </p:sp>
      <p:grpSp>
        <p:nvGrpSpPr>
          <p:cNvPr id="39" name="Groupe 38"/>
          <p:cNvGrpSpPr/>
          <p:nvPr/>
        </p:nvGrpSpPr>
        <p:grpSpPr>
          <a:xfrm>
            <a:off x="6584291" y="1203832"/>
            <a:ext cx="1659901" cy="322983"/>
            <a:chOff x="4259147" y="4055171"/>
            <a:chExt cx="1466410" cy="252000"/>
          </a:xfrm>
          <a:solidFill>
            <a:srgbClr val="FFD000"/>
          </a:solidFill>
        </p:grpSpPr>
        <p:sp>
          <p:nvSpPr>
            <p:cNvPr id="41" name="Rectangle à coins arrondis 40"/>
            <p:cNvSpPr/>
            <p:nvPr/>
          </p:nvSpPr>
          <p:spPr>
            <a:xfrm>
              <a:off x="4355822" y="4055171"/>
              <a:ext cx="1369735" cy="252000"/>
            </a:xfrm>
            <a:prstGeom prst="roundRect">
              <a:avLst/>
            </a:prstGeom>
            <a:solidFill>
              <a:srgbClr val="2EA675"/>
            </a:solidFill>
            <a:ln>
              <a:solidFill>
                <a:srgbClr val="2EA6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fr-FR" sz="1400" dirty="0">
                  <a:latin typeface="Liebherr Head Office" panose="020B0504030000000000" pitchFamily="34" charset="0"/>
                </a:rPr>
                <a:t>PARTENARIATS</a:t>
              </a:r>
            </a:p>
          </p:txBody>
        </p:sp>
        <p:sp>
          <p:nvSpPr>
            <p:cNvPr id="42" name="Ellipse 41"/>
            <p:cNvSpPr/>
            <p:nvPr/>
          </p:nvSpPr>
          <p:spPr>
            <a:xfrm>
              <a:off x="4259147" y="4055171"/>
              <a:ext cx="289487" cy="252000"/>
            </a:xfrm>
            <a:prstGeom prst="ellipse">
              <a:avLst/>
            </a:prstGeom>
            <a:solidFill>
              <a:schemeClr val="lt1"/>
            </a:solidFill>
            <a:ln>
              <a:solidFill>
                <a:srgbClr val="2EA6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indent="0" algn="ctr" rtl="0" eaLnBrk="0" fontAlgn="base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GB" sz="1800" b="0" i="0" u="none" baseline="0" dirty="0">
                <a:solidFill>
                  <a:srgbClr val="3A3838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53" name="Picture 10" descr="C:\Users\NG50BBA\Downloads\id.png">
            <a:extLst>
              <a:ext uri="{FF2B5EF4-FFF2-40B4-BE49-F238E27FC236}">
                <a16:creationId xmlns:a16="http://schemas.microsoft.com/office/drawing/2014/main" id="{C8CD19F8-840A-4FAA-8445-CB4BDEC4B2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003" y="1273892"/>
            <a:ext cx="218193" cy="212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Graphique 2" descr="Diplôme">
            <a:extLst>
              <a:ext uri="{FF2B5EF4-FFF2-40B4-BE49-F238E27FC236}">
                <a16:creationId xmlns:a16="http://schemas.microsoft.com/office/drawing/2014/main" id="{C218776F-EBB6-4256-A260-D35D16A89AC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27905" y="4990335"/>
            <a:ext cx="327683" cy="327683"/>
          </a:xfrm>
          <a:prstGeom prst="rect">
            <a:avLst/>
          </a:prstGeom>
        </p:spPr>
      </p:pic>
      <p:pic>
        <p:nvPicPr>
          <p:cNvPr id="5" name="Graphique 4" descr="Groupe d’hommes">
            <a:extLst>
              <a:ext uri="{FF2B5EF4-FFF2-40B4-BE49-F238E27FC236}">
                <a16:creationId xmlns:a16="http://schemas.microsoft.com/office/drawing/2014/main" id="{49EBCDC0-1EB7-48F9-B5D9-15C07EEE183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19721" y="1242323"/>
            <a:ext cx="256823" cy="256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574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3"/>
  <p:tag name="MIO_SHOW_DATE" val="False"/>
  <p:tag name="MIO_SHOW_FOOTER" val="True"/>
  <p:tag name="MIO_SHOW_PAGENUMBER" val="True"/>
  <p:tag name="MIO_AVOID_BLANK_LAYOUT" val="True"/>
  <p:tag name="MIO_CD_LAYOUT_VALID_AREA" val="False"/>
  <p:tag name="MIO_EMBED_FONT" val="True"/>
  <p:tag name="MIO_MATCH_COLOR_SCHEME" val="True"/>
  <p:tag name="MIO_NUMBER_OF_VALID_LAYOUTS" val="51"/>
  <p:tag name="MIO_HDS" val="True"/>
  <p:tag name="MIO_SKIPVERSION" val="01.01.0001 00:00:00"/>
  <p:tag name="MIO_EKGUID" val="05ec8568-c555-484d-a81c-be1f256855aa"/>
  <p:tag name="MIO_UPDATE" val="True"/>
  <p:tag name="MIO_VERSION" val="07.12.2021 15:30:16"/>
  <p:tag name="MIO_DBID" val="D2ADB5CE-4791-4BD6-A5B0-2150AF1FFAC7"/>
  <p:tag name="MIO_LASTDOWNLOADED" val="27.10.2023 16:16:01.329"/>
  <p:tag name="MIO_OBJECTNAME" val="1_New Master Corporate"/>
  <p:tag name="MIO_CDID" val="6bcddaaa-6f17-44f5-a88a-5e31afd6f172"/>
</p:tagLst>
</file>

<file path=ppt/theme/theme1.xml><?xml version="1.0" encoding="utf-8"?>
<a:theme xmlns:a="http://schemas.openxmlformats.org/drawingml/2006/main" name="LIEBHERR">
  <a:themeElements>
    <a:clrScheme name="Liebherr final">
      <a:dk1>
        <a:srgbClr val="000000"/>
      </a:dk1>
      <a:lt1>
        <a:srgbClr val="FFFFFF"/>
      </a:lt1>
      <a:dk2>
        <a:srgbClr val="003057"/>
      </a:dk2>
      <a:lt2>
        <a:srgbClr val="FFD000"/>
      </a:lt2>
      <a:accent1>
        <a:srgbClr val="E5E8ED"/>
      </a:accent1>
      <a:accent2>
        <a:srgbClr val="BDC4CA"/>
      </a:accent2>
      <a:accent3>
        <a:srgbClr val="888E94"/>
      </a:accent3>
      <a:accent4>
        <a:srgbClr val="6B7278"/>
      </a:accent4>
      <a:accent5>
        <a:srgbClr val="51585D"/>
      </a:accent5>
      <a:accent6>
        <a:srgbClr val="3A4046"/>
      </a:accent6>
      <a:hlink>
        <a:srgbClr val="3A4046"/>
      </a:hlink>
      <a:folHlink>
        <a:srgbClr val="3A4046"/>
      </a:folHlink>
    </a:clrScheme>
    <a:fontScheme name="Liebherr Head Office Black | Text Office">
      <a:majorFont>
        <a:latin typeface="Liebherr Head Office"/>
        <a:ea typeface=""/>
        <a:cs typeface=""/>
      </a:majorFont>
      <a:minorFont>
        <a:latin typeface="Liebherr Text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lIns="108000" tIns="108000" rIns="108000" bIns="108000" rtlCol="0" anchor="ctr"/>
      <a:lstStyle>
        <a:defPPr algn="ctr">
          <a:lnSpc>
            <a:spcPct val="120000"/>
          </a:lnSpc>
          <a:defRPr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noAutofit/>
      </a:bodyPr>
      <a:lstStyle>
        <a:defPPr marL="216000" indent="-216000" algn="l">
          <a:lnSpc>
            <a:spcPct val="120000"/>
          </a:lnSpc>
          <a:spcBef>
            <a:spcPts val="600"/>
          </a:spcBef>
          <a:buFont typeface="Arial" panose="020B0604020202020204" pitchFamily="34" charset="0"/>
          <a:buChar char="–"/>
          <a:defRPr dirty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Success">
      <a:srgbClr val="43A017"/>
    </a:custClr>
    <a:custClr name="Success Light">
      <a:srgbClr val="73D95F"/>
    </a:custClr>
    <a:custClr name="Warning Light">
      <a:srgbClr val="FF7070"/>
    </a:custClr>
    <a:custClr name="Warning">
      <a:srgbClr val="E52828"/>
    </a:custClr>
    <a:custClr name="Steel 10">
      <a:srgbClr val="F0F3F6"/>
    </a:custClr>
    <a:custClr name="Steel 20">
      <a:srgbClr val="E5E8ED"/>
    </a:custClr>
    <a:custClr name="Steel 30">
      <a:srgbClr val="D3D8DD"/>
    </a:custClr>
    <a:custClr name="Steel 40">
      <a:srgbClr val="BDC4CA"/>
    </a:custClr>
    <a:custClr name="Steel 50">
      <a:srgbClr val="9EA4AB"/>
    </a:custClr>
    <a:custClr name="Steel 60">
      <a:srgbClr val="888E94"/>
    </a:custClr>
    <a:custClr name="Steel 70">
      <a:srgbClr val="6B7278"/>
    </a:custClr>
    <a:custClr name="Steel 80">
      <a:srgbClr val="51585D"/>
    </a:custClr>
    <a:custClr name="Steel 90">
      <a:srgbClr val="3A4046"/>
    </a:custClr>
    <a:custClr name="Liebherr Black">
      <a:srgbClr val="1A1919"/>
    </a:custClr>
    <a:custClr name="Clay Light">
      <a:srgbClr val="F89939"/>
    </a:custClr>
    <a:custClr name="Slate Light">
      <a:srgbClr val="8BB2C2"/>
    </a:custClr>
    <a:custClr name="Terra Light">
      <a:srgbClr val="D1B795"/>
    </a:custClr>
    <a:custClr name="Leaf Light">
      <a:srgbClr val="5DBF90"/>
    </a:custClr>
    <a:custClr name="Ruby Light">
      <a:srgbClr val="F56E7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Clay">
      <a:srgbClr val="EB6F24"/>
    </a:custClr>
    <a:custClr name="Slate">
      <a:srgbClr val="5789A4"/>
    </a:custClr>
    <a:custClr name="Terra">
      <a:srgbClr val="AA8D6D"/>
    </a:custClr>
    <a:custClr name="Leaf">
      <a:srgbClr val="2EA675"/>
    </a:custClr>
    <a:custClr name="Ruby">
      <a:srgbClr val="E3485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Clay Dark">
      <a:srgbClr val="AF542E"/>
    </a:custClr>
    <a:custClr name="Slate Dark">
      <a:srgbClr val="3B6579"/>
    </a:custClr>
    <a:custClr name="Terra Dark">
      <a:srgbClr val="846554"/>
    </a:custClr>
    <a:custClr name="Leaf Dark">
      <a:srgbClr val="33825E"/>
    </a:custClr>
    <a:custClr name="Ruby Dark">
      <a:srgbClr val="AD0B3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Liebherr PowerPoint master slides_Customizing.potx" id="{5F00CEE7-861A-4B4E-A0CD-7ACCDF6D57B4}" vid="{32BC0082-7953-4148-8A0E-CF892D395756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EB2CBEDD6A014DB2E5D19978BA03F5" ma:contentTypeVersion="10" ma:contentTypeDescription="Crée un document." ma:contentTypeScope="" ma:versionID="8cf4c702460deef00c39dec4a4b52a87">
  <xsd:schema xmlns:xsd="http://www.w3.org/2001/XMLSchema" xmlns:xs="http://www.w3.org/2001/XMLSchema" xmlns:p="http://schemas.microsoft.com/office/2006/metadata/properties" xmlns:ns2="866931fb-a6fd-4cfa-b004-db56566d8a49" targetNamespace="http://schemas.microsoft.com/office/2006/metadata/properties" ma:root="true" ma:fieldsID="53a232e74fc3da42143b0f9ceffc4450" ns2:_="">
    <xsd:import namespace="866931fb-a6fd-4cfa-b004-db56566d8a4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6931fb-a6fd-4cfa-b004-db56566d8a4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B4002AD-EC78-4FA6-B453-D45456CFB575}">
  <ds:schemaRefs>
    <ds:schemaRef ds:uri="866931fb-a6fd-4cfa-b004-db56566d8a49"/>
    <ds:schemaRef ds:uri="http://www.w3.org/XML/1998/namespace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FEBBA84-0684-4D29-B675-655852CE5A1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5E1BC05-62D7-483F-A991-3B94AF9985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66931fb-a6fd-4cfa-b004-db56566d8a4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dèle_PP_Liebherr.pptx</Template>
  <TotalTime>118</TotalTime>
  <Words>567</Words>
  <Application>Microsoft Office PowerPoint</Application>
  <PresentationFormat>Grand écran</PresentationFormat>
  <Paragraphs>124</Paragraphs>
  <Slides>5</Slides>
  <Notes>3</Notes>
  <HiddenSlides>0</HiddenSlides>
  <MMClips>0</MMClips>
  <ScaleCrop>false</ScaleCrop>
  <HeadingPairs>
    <vt:vector size="6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2" baseType="lpstr">
      <vt:lpstr>Wingdings</vt:lpstr>
      <vt:lpstr>Liebherr Text Office</vt:lpstr>
      <vt:lpstr>Liebherr Head Office</vt:lpstr>
      <vt:lpstr>Arial Unicode MS</vt:lpstr>
      <vt:lpstr>Arial</vt:lpstr>
      <vt:lpstr>Calibri</vt:lpstr>
      <vt:lpstr>LIEBHERR</vt:lpstr>
      <vt:lpstr>Dossier de candidature type</vt:lpstr>
      <vt:lpstr>Nom du projet</vt:lpstr>
      <vt:lpstr>Nom du projet</vt:lpstr>
      <vt:lpstr>Expérimentation</vt:lpstr>
      <vt:lpstr>Description Porteur(s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émarche innovation</dc:title>
  <dc:creator>Louis Fagot</dc:creator>
  <cp:lastModifiedBy>aerospace\falieres</cp:lastModifiedBy>
  <cp:revision>752</cp:revision>
  <dcterms:created xsi:type="dcterms:W3CDTF">2017-10-11T08:16:51Z</dcterms:created>
  <dcterms:modified xsi:type="dcterms:W3CDTF">2024-10-09T14:3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EB2CBEDD6A014DB2E5D19978BA03F5</vt:lpwstr>
  </property>
</Properties>
</file>